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wmf" ContentType="image/x-wmf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gif" ContentType="image/gif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4.xml" ContentType="application/vnd.openxmlformats-officedocument.presentationml.notesSlide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661" r:id="rId1"/>
  </p:sldMasterIdLst>
  <p:notesMasterIdLst>
    <p:notesMasterId r:id="rId14"/>
  </p:notesMasterIdLst>
  <p:handoutMasterIdLst>
    <p:handoutMasterId r:id="rId15"/>
  </p:handoutMasterIdLst>
  <p:sldIdLst>
    <p:sldId id="256" r:id="rId2"/>
    <p:sldId id="289" r:id="rId3"/>
    <p:sldId id="292" r:id="rId4"/>
    <p:sldId id="440" r:id="rId5"/>
    <p:sldId id="516" r:id="rId6"/>
    <p:sldId id="441" r:id="rId7"/>
    <p:sldId id="479" r:id="rId8"/>
    <p:sldId id="481" r:id="rId9"/>
    <p:sldId id="485" r:id="rId10"/>
    <p:sldId id="478" r:id="rId11"/>
    <p:sldId id="512" r:id="rId12"/>
    <p:sldId id="517" r:id="rId13"/>
  </p:sldIdLst>
  <p:sldSz cx="9144000" cy="6858000" type="screen4x3"/>
  <p:notesSz cx="6950075" cy="9236075"/>
  <p:custDataLst>
    <p:tags r:id="rId16"/>
  </p:custDataLst>
  <p:defaultTextStyle>
    <a:defPPr>
      <a:defRPr lang="en-US"/>
    </a:defPPr>
    <a:lvl1pPr algn="ct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ct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ct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ct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ct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>
          <p15:clr>
            <a:srgbClr val="A4A3A4"/>
          </p15:clr>
        </p15:guide>
        <p15:guide id="2" pos="142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09" userDrawn="1">
          <p15:clr>
            <a:srgbClr val="A4A3A4"/>
          </p15:clr>
        </p15:guide>
        <p15:guide id="2" pos="2189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thor" initials="A" lastIdx="2893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572F"/>
    <a:srgbClr val="D17D08"/>
    <a:srgbClr val="FF3C0D"/>
    <a:srgbClr val="F79A1D"/>
    <a:srgbClr val="F9B459"/>
    <a:srgbClr val="D8D3BA"/>
    <a:srgbClr val="998F57"/>
    <a:srgbClr val="CECECE"/>
    <a:srgbClr val="ADB7C3"/>
    <a:srgbClr val="243F5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3187" autoAdjust="0"/>
    <p:restoredTop sz="95179" autoAdjust="0"/>
  </p:normalViewPr>
  <p:slideViewPr>
    <p:cSldViewPr snapToObjects="1">
      <p:cViewPr varScale="1">
        <p:scale>
          <a:sx n="116" d="100"/>
          <a:sy n="116" d="100"/>
        </p:scale>
        <p:origin x="2244" y="108"/>
      </p:cViewPr>
      <p:guideLst>
        <p:guide orient="horz"/>
        <p:guide pos="1422"/>
      </p:guideLst>
    </p:cSldViewPr>
  </p:slideViewPr>
  <p:outlineViewPr>
    <p:cViewPr>
      <p:scale>
        <a:sx n="33" d="100"/>
        <a:sy n="33" d="100"/>
      </p:scale>
      <p:origin x="0" y="-40350"/>
    </p:cViewPr>
  </p:outlineViewPr>
  <p:notesTextViewPr>
    <p:cViewPr>
      <p:scale>
        <a:sx n="100" d="100"/>
        <a:sy n="100" d="100"/>
      </p:scale>
      <p:origin x="0" y="0"/>
    </p:cViewPr>
  </p:notesTextViewPr>
  <p:notesViewPr>
    <p:cSldViewPr snapToObjects="1">
      <p:cViewPr varScale="1">
        <p:scale>
          <a:sx n="69" d="100"/>
          <a:sy n="69" d="100"/>
        </p:scale>
        <p:origin x="-2484" y="-114"/>
      </p:cViewPr>
      <p:guideLst>
        <p:guide orient="horz" pos="2909"/>
        <p:guide pos="2189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200"/>
            </a:lvl1pPr>
          </a:lstStyle>
          <a:p>
            <a:endParaRPr lang="en-CA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36768" y="0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1200"/>
            </a:lvl1pPr>
          </a:lstStyle>
          <a:p>
            <a:fld id="{110B9C36-03F4-41DF-9FFD-B4483F722394}" type="datetimeFigureOut">
              <a:rPr lang="en-CA" smtClean="0"/>
              <a:pPr/>
              <a:t>23/05/2014</a:t>
            </a:fld>
            <a:endParaRPr lang="en-CA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772668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200"/>
            </a:lvl1pPr>
          </a:lstStyle>
          <a:p>
            <a:endParaRPr lang="en-CA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36768" y="8772668"/>
            <a:ext cx="3011699" cy="461804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200"/>
            </a:lvl1pPr>
          </a:lstStyle>
          <a:p>
            <a:fld id="{2426C72D-894C-4E56-B9CB-84AA6ABBA4F8}" type="slidenum">
              <a:rPr lang="en-CA" smtClean="0"/>
              <a:pPr/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99910670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8193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11699" cy="4618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492" tIns="46246" rIns="92492" bIns="46246" numCol="1" anchor="t" anchorCtr="0" compatLnSpc="1">
            <a:prstTxWarp prst="textNoShape">
              <a:avLst/>
            </a:prstTxWarp>
          </a:bodyPr>
          <a:lstStyle>
            <a:lvl1pPr algn="l">
              <a:defRPr sz="120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171" name="Rectangle 8194"/>
          <p:cNvSpPr>
            <a:spLocks noGrp="1" noChangeArrowheads="1"/>
          </p:cNvSpPr>
          <p:nvPr>
            <p:ph type="dt" idx="1"/>
          </p:nvPr>
        </p:nvSpPr>
        <p:spPr bwMode="auto">
          <a:xfrm>
            <a:off x="3936768" y="0"/>
            <a:ext cx="3011699" cy="4618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492" tIns="46246" rIns="92492" bIns="46246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8196" name="Slide Image Placeholder 8195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65225" y="692150"/>
            <a:ext cx="4619625" cy="3463925"/>
          </a:xfrm>
          <a:prstGeom prst="rect">
            <a:avLst/>
          </a:prstGeom>
          <a:noFill/>
          <a:ln w="9525" algn="ctr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5365" name="Notes Placeholder 15364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95008" y="4387136"/>
            <a:ext cx="5560060" cy="4156234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2492" tIns="46246" rIns="92492" bIns="4624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7174" name="Rectangle 8197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772668"/>
            <a:ext cx="3011699" cy="4618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492" tIns="46246" rIns="92492" bIns="46246" numCol="1" anchor="b" anchorCtr="0" compatLnSpc="1">
            <a:prstTxWarp prst="textNoShape">
              <a:avLst/>
            </a:prstTxWarp>
          </a:bodyPr>
          <a:lstStyle>
            <a:lvl1pPr algn="l">
              <a:defRPr sz="120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5367" name="Slide Number Placeholder 15366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936768" y="8772668"/>
            <a:ext cx="3011699" cy="461804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2492" tIns="46246" rIns="92492" bIns="46246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44C65BAA-4C92-45F9-B685-78236DC3BAD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085304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Helvetica" pitchFamily="34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Helvetica" pitchFamily="34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Helvetica" pitchFamily="34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Helvetica" pitchFamily="34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Helvetica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C65BAA-4C92-45F9-B685-78236DC3BAD1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16190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C65BAA-4C92-45F9-B685-78236DC3BAD1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556657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C65BAA-4C92-45F9-B685-78236DC3BAD1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507941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C65BAA-4C92-45F9-B685-78236DC3BAD1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4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214568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C65BAA-4C92-45F9-B685-78236DC3BAD1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806226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C65BAA-4C92-45F9-B685-78236DC3BAD1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402574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C65BAA-4C92-45F9-B685-78236DC3BAD1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681844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C65BAA-4C92-45F9-B685-78236DC3BAD1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850205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C65BAA-4C92-45F9-B685-78236DC3BAD1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10044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27"/>
          <p:cNvSpPr>
            <a:spLocks noGrp="1"/>
          </p:cNvSpPr>
          <p:nvPr>
            <p:ph type="body" sz="quarter" idx="15" hasCustomPrompt="1"/>
          </p:nvPr>
        </p:nvSpPr>
        <p:spPr>
          <a:xfrm>
            <a:off x="774700" y="3060698"/>
            <a:ext cx="7454900" cy="655267"/>
          </a:xfrm>
        </p:spPr>
        <p:txBody>
          <a:bodyPr/>
          <a:lstStyle>
            <a:lvl1pPr marL="0" indent="0">
              <a:lnSpc>
                <a:spcPts val="3200"/>
              </a:lnSpc>
              <a:buNone/>
              <a:defRPr sz="2800" baseline="0">
                <a:latin typeface="+mj-lt"/>
              </a:defRPr>
            </a:lvl1pPr>
            <a:lvl2pPr>
              <a:buNone/>
              <a:defRPr sz="2800">
                <a:latin typeface="+mj-lt"/>
              </a:defRPr>
            </a:lvl2pPr>
            <a:lvl3pPr>
              <a:buNone/>
              <a:defRPr sz="2800">
                <a:latin typeface="+mj-lt"/>
              </a:defRPr>
            </a:lvl3pPr>
            <a:lvl4pPr>
              <a:buNone/>
              <a:defRPr sz="2800">
                <a:latin typeface="+mj-lt"/>
              </a:defRPr>
            </a:lvl4pPr>
            <a:lvl5pPr>
              <a:buNone/>
              <a:defRPr sz="2800">
                <a:latin typeface="+mj-lt"/>
              </a:defRPr>
            </a:lvl5pPr>
          </a:lstStyle>
          <a:p>
            <a:pPr lvl="0"/>
            <a:r>
              <a:rPr lang="en-US" dirty="0" smtClean="0"/>
              <a:t>Headline (Georgia, 28pt)</a:t>
            </a:r>
            <a:endParaRPr lang="en-CA" dirty="0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16" hasCustomPrompt="1"/>
          </p:nvPr>
        </p:nvSpPr>
        <p:spPr>
          <a:xfrm>
            <a:off x="774700" y="3724072"/>
            <a:ext cx="7467600" cy="508000"/>
          </a:xfrm>
        </p:spPr>
        <p:txBody>
          <a:bodyPr/>
          <a:lstStyle>
            <a:lvl1pPr marL="0" indent="0">
              <a:buNone/>
              <a:defRPr lang="en-US" sz="1400" baseline="0" dirty="0" smtClean="0"/>
            </a:lvl1pPr>
            <a:lvl2pPr marL="0" indent="0">
              <a:buNone/>
              <a:defRPr sz="1600"/>
            </a:lvl2pPr>
            <a:lvl3pPr marL="0" indent="0">
              <a:buNone/>
              <a:defRPr sz="1600"/>
            </a:lvl3pPr>
            <a:lvl4pPr marL="0" indent="0">
              <a:buNone/>
              <a:defRPr sz="1600"/>
            </a:lvl4pPr>
            <a:lvl5pPr marL="0" indent="0">
              <a:buNone/>
              <a:defRPr sz="1600"/>
            </a:lvl5pPr>
          </a:lstStyle>
          <a:p>
            <a:pPr lvl="0"/>
            <a:r>
              <a:rPr lang="en-US" dirty="0" smtClean="0"/>
              <a:t>Subhead (Arial, 14pt)</a:t>
            </a:r>
          </a:p>
        </p:txBody>
      </p:sp>
      <p:sp>
        <p:nvSpPr>
          <p:cNvPr id="29" name="Rectangle 28"/>
          <p:cNvSpPr/>
          <p:nvPr userDrawn="1"/>
        </p:nvSpPr>
        <p:spPr>
          <a:xfrm>
            <a:off x="0" y="6090047"/>
            <a:ext cx="6696236" cy="767953"/>
          </a:xfrm>
          <a:prstGeom prst="rect">
            <a:avLst/>
          </a:prstGeom>
          <a:solidFill>
            <a:srgbClr val="29475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CA" sz="800" dirty="0" smtClean="0">
                <a:solidFill>
                  <a:srgbClr val="ADB7C3"/>
                </a:solidFill>
              </a:rPr>
              <a:t>Info-Tech</a:t>
            </a:r>
            <a:r>
              <a:rPr lang="en-CA" sz="800" baseline="0" dirty="0" smtClean="0">
                <a:solidFill>
                  <a:srgbClr val="ADB7C3"/>
                </a:solidFill>
              </a:rPr>
              <a:t> Research Group, Inc. Is a global leader in providing IT research and advice.</a:t>
            </a:r>
            <a:br>
              <a:rPr lang="en-CA" sz="800" baseline="0" dirty="0" smtClean="0">
                <a:solidFill>
                  <a:srgbClr val="ADB7C3"/>
                </a:solidFill>
              </a:rPr>
            </a:br>
            <a:r>
              <a:rPr lang="en-CA" sz="800" baseline="0" dirty="0" smtClean="0">
                <a:solidFill>
                  <a:srgbClr val="ADB7C3"/>
                </a:solidFill>
              </a:rPr>
              <a:t>Info-Tech’s products and services combine actionable insight and relevant advice with</a:t>
            </a:r>
            <a:br>
              <a:rPr lang="en-CA" sz="800" baseline="0" dirty="0" smtClean="0">
                <a:solidFill>
                  <a:srgbClr val="ADB7C3"/>
                </a:solidFill>
              </a:rPr>
            </a:br>
            <a:r>
              <a:rPr lang="en-CA" sz="800" baseline="0" dirty="0" smtClean="0">
                <a:solidFill>
                  <a:srgbClr val="ADB7C3"/>
                </a:solidFill>
              </a:rPr>
              <a:t>ready-to-use tools and templates that cover the full spectrum of IT concerns.</a:t>
            </a:r>
            <a:br>
              <a:rPr lang="en-CA" sz="800" baseline="0" dirty="0" smtClean="0">
                <a:solidFill>
                  <a:srgbClr val="ADB7C3"/>
                </a:solidFill>
              </a:rPr>
            </a:br>
            <a:r>
              <a:rPr lang="en-CA" sz="800" b="0" i="0" kern="1200" dirty="0" smtClean="0">
                <a:solidFill>
                  <a:srgbClr val="ADB7C3"/>
                </a:solidFill>
                <a:latin typeface="+mn-lt"/>
                <a:ea typeface="+mn-ea"/>
                <a:cs typeface="+mn-cs"/>
              </a:rPr>
              <a:t>© 1997-2014</a:t>
            </a:r>
            <a:r>
              <a:rPr lang="en-CA" sz="800" b="0" i="0" kern="1200" baseline="0" dirty="0" smtClean="0">
                <a:solidFill>
                  <a:srgbClr val="ADB7C3"/>
                </a:solidFill>
                <a:latin typeface="+mn-lt"/>
                <a:ea typeface="+mn-ea"/>
                <a:cs typeface="+mn-cs"/>
              </a:rPr>
              <a:t> Info-Tech Research Group Inc.</a:t>
            </a:r>
            <a:endParaRPr lang="en-CA" sz="800" dirty="0">
              <a:solidFill>
                <a:srgbClr val="ADB7C3"/>
              </a:solidFill>
            </a:endParaRPr>
          </a:p>
        </p:txBody>
      </p:sp>
      <p:sp>
        <p:nvSpPr>
          <p:cNvPr id="31" name="Rectangle 30"/>
          <p:cNvSpPr/>
          <p:nvPr userDrawn="1"/>
        </p:nvSpPr>
        <p:spPr>
          <a:xfrm>
            <a:off x="6696236" y="6090047"/>
            <a:ext cx="2447764" cy="767953"/>
          </a:xfrm>
          <a:prstGeom prst="rect">
            <a:avLst/>
          </a:prstGeom>
          <a:solidFill>
            <a:srgbClr val="29475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endParaRPr lang="en-CA" sz="800" dirty="0">
              <a:solidFill>
                <a:srgbClr val="ADB7C3"/>
              </a:solidFill>
            </a:endParaRPr>
          </a:p>
        </p:txBody>
      </p:sp>
      <p:pic>
        <p:nvPicPr>
          <p:cNvPr id="32" name="Picture 31" descr="Info-Tech_Logo_2013-On-Screen-WHITE(transparent-background)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7020272" y="6309320"/>
            <a:ext cx="1697008" cy="339401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33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232756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i="0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  <p:sp>
        <p:nvSpPr>
          <p:cNvPr id="20" name="Text Placeholder 41"/>
          <p:cNvSpPr>
            <a:spLocks noGrp="1"/>
          </p:cNvSpPr>
          <p:nvPr>
            <p:ph type="body" sz="quarter" idx="22" hasCustomPrompt="1"/>
          </p:nvPr>
        </p:nvSpPr>
        <p:spPr>
          <a:xfrm>
            <a:off x="249303" y="5357454"/>
            <a:ext cx="4713221" cy="825760"/>
          </a:xfrm>
        </p:spPr>
        <p:txBody>
          <a:bodyPr/>
          <a:lstStyle>
            <a:lvl1pPr marL="0" indent="0">
              <a:lnSpc>
                <a:spcPts val="1350"/>
              </a:lnSpc>
              <a:spcBef>
                <a:spcPts val="500"/>
              </a:spcBef>
              <a:buClr>
                <a:schemeClr val="bg1"/>
              </a:buClr>
              <a:buSzPct val="25000"/>
              <a:buFont typeface="Arial" pitchFamily="34" charset="0"/>
              <a:buChar char="•"/>
              <a:defRPr sz="1400" i="1" baseline="0">
                <a:solidFill>
                  <a:schemeClr val="tx1"/>
                </a:solidFill>
                <a:latin typeface="+mj-lt"/>
              </a:defRPr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accent2"/>
              </a:buClr>
              <a:buSzPct val="100000"/>
              <a:buFont typeface="Arial" pitchFamily="34" charset="0"/>
              <a:buChar char="-"/>
              <a:defRPr sz="1200">
                <a:solidFill>
                  <a:schemeClr val="tx1"/>
                </a:solidFill>
              </a:defRPr>
            </a:lvl2pPr>
            <a:lvl3pPr marL="895350" indent="-176213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/>
            </a:lvl3pPr>
            <a:lvl4pPr marL="1254125" indent="-174625">
              <a:lnSpc>
                <a:spcPts val="135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Quote – Body Level (Georgia, 14pt)</a:t>
            </a:r>
          </a:p>
          <a:p>
            <a:pPr lvl="1"/>
            <a:r>
              <a:rPr lang="en-US" dirty="0" smtClean="0"/>
              <a:t>IT Role, IT Industry (Arial, 12pt)</a:t>
            </a:r>
          </a:p>
        </p:txBody>
      </p:sp>
      <p:sp>
        <p:nvSpPr>
          <p:cNvPr id="25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3" y="1880828"/>
            <a:ext cx="4713222" cy="3273685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 defTabSz="895350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 baseline="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19" name="Rectangle 18"/>
            <p:cNvSpPr/>
            <p:nvPr userDrawn="1"/>
          </p:nvSpPr>
          <p:spPr>
            <a:xfrm>
              <a:off x="0" y="0"/>
              <a:ext cx="9144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21" name="Rectangle 20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22" name="Rectangle 21"/>
            <p:cNvSpPr/>
            <p:nvPr userDrawn="1"/>
          </p:nvSpPr>
          <p:spPr>
            <a:xfrm rot="5400000">
              <a:off x="5584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b="1" dirty="0"/>
            </a:p>
          </p:txBody>
        </p:sp>
        <p:sp>
          <p:nvSpPr>
            <p:cNvPr id="24" name="Rectangle 23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</p:grp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/Image (60/40) &amp;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22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3" y="1883744"/>
            <a:ext cx="4713222" cy="3273685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26" name="Content Placeholder 25"/>
          <p:cNvSpPr>
            <a:spLocks noGrp="1"/>
          </p:cNvSpPr>
          <p:nvPr>
            <p:ph sz="quarter" idx="20" hasCustomPrompt="1"/>
          </p:nvPr>
        </p:nvSpPr>
        <p:spPr>
          <a:xfrm>
            <a:off x="5581649" y="1880828"/>
            <a:ext cx="3238823" cy="3029881"/>
          </a:xfrm>
        </p:spPr>
        <p:txBody>
          <a:bodyPr/>
          <a:lstStyle>
            <a:lvl1pPr marL="180975" indent="-180975"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2pPr>
            <a:lvl3pPr marL="542925" indent="-180975"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buClr>
                <a:schemeClr val="tx1"/>
              </a:buClr>
              <a:buSzPct val="100000"/>
              <a:buFont typeface="Wingdings" pitchFamily="2" charset="2"/>
              <a:buChar char="§"/>
              <a:defRPr sz="1200" baseline="0"/>
            </a:lvl4pPr>
            <a:lvl5pPr marL="1619250" indent="-180975">
              <a:buSzPct val="150000"/>
              <a:buFont typeface="Arial" pitchFamily="34" charset="0"/>
              <a:buChar char="◦"/>
              <a:defRPr sz="120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27" name="Text Placeholder 41"/>
          <p:cNvSpPr>
            <a:spLocks noGrp="1"/>
          </p:cNvSpPr>
          <p:nvPr>
            <p:ph type="body" sz="quarter" idx="21" hasCustomPrompt="1"/>
          </p:nvPr>
        </p:nvSpPr>
        <p:spPr>
          <a:xfrm>
            <a:off x="5581649" y="4910709"/>
            <a:ext cx="3238823" cy="314325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Tx/>
              <a:buNone/>
              <a:defRPr sz="1200" baseline="0"/>
            </a:lvl1pPr>
            <a:lvl2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Tx/>
              <a:buNone/>
              <a:defRPr sz="1200"/>
            </a:lvl2pPr>
            <a:lvl3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Tx/>
              <a:buNone/>
              <a:defRPr sz="1200"/>
            </a:lvl3pPr>
            <a:lvl4pPr marL="0" indent="0">
              <a:lnSpc>
                <a:spcPts val="1350"/>
              </a:lnSpc>
              <a:spcBef>
                <a:spcPts val="500"/>
              </a:spcBef>
              <a:buSzPct val="100000"/>
              <a:buFontTx/>
              <a:buNone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Above Image/Chart Caption (Arial, 12pt)</a:t>
            </a:r>
          </a:p>
        </p:txBody>
      </p:sp>
      <p:sp>
        <p:nvSpPr>
          <p:cNvPr id="29" name="Text Placeholder 41"/>
          <p:cNvSpPr>
            <a:spLocks noGrp="1"/>
          </p:cNvSpPr>
          <p:nvPr>
            <p:ph type="body" sz="quarter" idx="22" hasCustomPrompt="1"/>
          </p:nvPr>
        </p:nvSpPr>
        <p:spPr>
          <a:xfrm>
            <a:off x="249303" y="5360370"/>
            <a:ext cx="4713221" cy="825760"/>
          </a:xfrm>
        </p:spPr>
        <p:txBody>
          <a:bodyPr/>
          <a:lstStyle>
            <a:lvl1pPr marL="0" indent="0">
              <a:lnSpc>
                <a:spcPts val="1350"/>
              </a:lnSpc>
              <a:spcBef>
                <a:spcPts val="500"/>
              </a:spcBef>
              <a:buClr>
                <a:schemeClr val="bg1"/>
              </a:buClr>
              <a:buSzPct val="25000"/>
              <a:buFont typeface="Arial" pitchFamily="34" charset="0"/>
              <a:buChar char="•"/>
              <a:defRPr sz="1400" i="1" baseline="0">
                <a:solidFill>
                  <a:schemeClr val="tx1"/>
                </a:solidFill>
                <a:latin typeface="+mj-lt"/>
              </a:defRPr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accent2"/>
              </a:buClr>
              <a:buSzPct val="100000"/>
              <a:buFont typeface="Arial" pitchFamily="34" charset="0"/>
              <a:buChar char="-"/>
              <a:defRPr sz="1200">
                <a:solidFill>
                  <a:schemeClr val="tx1"/>
                </a:solidFill>
              </a:defRPr>
            </a:lvl2pPr>
            <a:lvl3pPr marL="895350" indent="-176213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/>
            </a:lvl3pPr>
            <a:lvl4pPr marL="1254125" indent="-174625">
              <a:lnSpc>
                <a:spcPts val="135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Quote – Body Level (Georgia, 14pt)</a:t>
            </a:r>
          </a:p>
          <a:p>
            <a:pPr lvl="1"/>
            <a:r>
              <a:rPr lang="en-US" dirty="0" smtClean="0"/>
              <a:t>IT Role, IT Industry (Arial, 12pt)</a:t>
            </a:r>
          </a:p>
        </p:txBody>
      </p:sp>
      <p:sp>
        <p:nvSpPr>
          <p:cNvPr id="33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232756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16" name="Rectangle 15"/>
            <p:cNvSpPr/>
            <p:nvPr userDrawn="1"/>
          </p:nvSpPr>
          <p:spPr>
            <a:xfrm>
              <a:off x="0" y="0"/>
              <a:ext cx="9144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17" name="Rectangle 16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18" name="Rectangle 17"/>
            <p:cNvSpPr/>
            <p:nvPr userDrawn="1"/>
          </p:nvSpPr>
          <p:spPr>
            <a:xfrm rot="5400000">
              <a:off x="5584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b="1" dirty="0"/>
            </a:p>
          </p:txBody>
        </p:sp>
        <p:sp>
          <p:nvSpPr>
            <p:cNvPr id="19" name="Rectangle 18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</p:grp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/Image Eq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Content Placeholder 25"/>
          <p:cNvSpPr>
            <a:spLocks noGrp="1"/>
          </p:cNvSpPr>
          <p:nvPr>
            <p:ph sz="quarter" idx="20" hasCustomPrompt="1"/>
          </p:nvPr>
        </p:nvSpPr>
        <p:spPr>
          <a:xfrm>
            <a:off x="4824029" y="2019299"/>
            <a:ext cx="3996443" cy="3286125"/>
          </a:xfrm>
        </p:spPr>
        <p:txBody>
          <a:bodyPr/>
          <a:lstStyle>
            <a:lvl1pPr marL="18097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Wingdings" pitchFamily="2" charset="2"/>
              <a:buChar char="§"/>
              <a:defRPr sz="1200" baseline="0"/>
            </a:lvl4pPr>
            <a:lvl5pPr marL="1619250" indent="-180975">
              <a:buSzPct val="150000"/>
              <a:buFont typeface="Arial" pitchFamily="34" charset="0"/>
              <a:buChar char="◦"/>
              <a:defRPr sz="120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19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60650" y="1700808"/>
            <a:ext cx="4059322" cy="223365"/>
          </a:xfrm>
        </p:spPr>
        <p:txBody>
          <a:bodyPr/>
          <a:lstStyle>
            <a:lvl1pPr marL="228600" indent="-228600">
              <a:buNone/>
              <a:defRPr sz="12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Header of Box Below (Arial 12pt, Bold)</a:t>
            </a:r>
            <a:endParaRPr lang="en-CA" dirty="0"/>
          </a:p>
        </p:txBody>
      </p:sp>
      <p:sp>
        <p:nvSpPr>
          <p:cNvPr id="21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60651" y="2022215"/>
            <a:ext cx="4059320" cy="3273685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24" name="Text Placeholder 41"/>
          <p:cNvSpPr>
            <a:spLocks noGrp="1"/>
          </p:cNvSpPr>
          <p:nvPr>
            <p:ph type="body" sz="quarter" idx="21" hasCustomPrompt="1"/>
          </p:nvPr>
        </p:nvSpPr>
        <p:spPr>
          <a:xfrm>
            <a:off x="4824029" y="5305425"/>
            <a:ext cx="3996443" cy="314325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Tx/>
              <a:buNone/>
              <a:defRPr sz="1200" baseline="0"/>
            </a:lvl1pPr>
            <a:lvl2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Tx/>
              <a:buNone/>
              <a:defRPr sz="1200"/>
            </a:lvl2pPr>
            <a:lvl3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Tx/>
              <a:buNone/>
              <a:defRPr sz="1200"/>
            </a:lvl3pPr>
            <a:lvl4pPr marL="0" indent="0">
              <a:lnSpc>
                <a:spcPts val="1350"/>
              </a:lnSpc>
              <a:spcBef>
                <a:spcPts val="500"/>
              </a:spcBef>
              <a:buSzPct val="100000"/>
              <a:buFontTx/>
              <a:buNone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Above Image/Chart Caption (Arial, 12pt)</a:t>
            </a:r>
          </a:p>
        </p:txBody>
      </p:sp>
      <p:sp>
        <p:nvSpPr>
          <p:cNvPr id="27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35" name="Text Placeholder 53"/>
          <p:cNvSpPr>
            <a:spLocks noGrp="1"/>
          </p:cNvSpPr>
          <p:nvPr>
            <p:ph type="body" sz="quarter" idx="24" hasCustomPrompt="1"/>
          </p:nvPr>
        </p:nvSpPr>
        <p:spPr>
          <a:xfrm>
            <a:off x="4824029" y="1700808"/>
            <a:ext cx="3996443" cy="223365"/>
          </a:xfrm>
        </p:spPr>
        <p:txBody>
          <a:bodyPr/>
          <a:lstStyle>
            <a:lvl1pPr marL="228600" indent="-228600">
              <a:buNone/>
              <a:defRPr sz="12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Header of Box Below (Arial 12pt, Bold)</a:t>
            </a:r>
            <a:endParaRPr lang="en-CA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16" name="Rectangle 15"/>
            <p:cNvSpPr/>
            <p:nvPr userDrawn="1"/>
          </p:nvSpPr>
          <p:spPr>
            <a:xfrm>
              <a:off x="0" y="0"/>
              <a:ext cx="9144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17" name="Rectangle 16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18" name="Rectangle 17"/>
            <p:cNvSpPr/>
            <p:nvPr userDrawn="1"/>
          </p:nvSpPr>
          <p:spPr>
            <a:xfrm rot="5400000">
              <a:off x="5584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b="1" dirty="0"/>
            </a:p>
          </p:txBody>
        </p:sp>
        <p:sp>
          <p:nvSpPr>
            <p:cNvPr id="20" name="Rectangle 19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</p:grp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 &amp; Image / Image Equal Vendor Landscap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Content Placeholder 25"/>
          <p:cNvSpPr>
            <a:spLocks noGrp="1"/>
          </p:cNvSpPr>
          <p:nvPr>
            <p:ph sz="quarter" idx="20" hasCustomPrompt="1"/>
          </p:nvPr>
        </p:nvSpPr>
        <p:spPr>
          <a:xfrm>
            <a:off x="4824029" y="1880828"/>
            <a:ext cx="3996443" cy="2489821"/>
          </a:xfrm>
        </p:spPr>
        <p:txBody>
          <a:bodyPr/>
          <a:lstStyle>
            <a:lvl1pPr marL="18097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Wingdings" pitchFamily="2" charset="2"/>
              <a:buChar char="§"/>
              <a:defRPr sz="1200" baseline="0"/>
            </a:lvl4pPr>
            <a:lvl5pPr marL="1619250" indent="-180975">
              <a:buSzPct val="150000"/>
              <a:buFont typeface="Arial" pitchFamily="34" charset="0"/>
              <a:buChar char="◦"/>
              <a:defRPr sz="120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21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60651" y="1883744"/>
            <a:ext cx="4059320" cy="1514797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24" name="Text Placeholder 41"/>
          <p:cNvSpPr>
            <a:spLocks noGrp="1"/>
          </p:cNvSpPr>
          <p:nvPr>
            <p:ph type="body" sz="quarter" idx="21" hasCustomPrompt="1"/>
          </p:nvPr>
        </p:nvSpPr>
        <p:spPr>
          <a:xfrm>
            <a:off x="4824029" y="4370649"/>
            <a:ext cx="3996443" cy="314325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Tx/>
              <a:buNone/>
              <a:defRPr sz="1200" baseline="0"/>
            </a:lvl1pPr>
            <a:lvl2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Tx/>
              <a:buNone/>
              <a:defRPr sz="1200"/>
            </a:lvl2pPr>
            <a:lvl3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Tx/>
              <a:buNone/>
              <a:defRPr sz="1200"/>
            </a:lvl3pPr>
            <a:lvl4pPr marL="0" indent="0">
              <a:lnSpc>
                <a:spcPts val="1350"/>
              </a:lnSpc>
              <a:spcBef>
                <a:spcPts val="500"/>
              </a:spcBef>
              <a:buSzPct val="100000"/>
              <a:buFontTx/>
              <a:buNone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Above Image/Chart Caption (Arial, 12pt)</a:t>
            </a:r>
          </a:p>
        </p:txBody>
      </p:sp>
      <p:sp>
        <p:nvSpPr>
          <p:cNvPr id="27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15" name="Content Placeholder 25"/>
          <p:cNvSpPr>
            <a:spLocks noGrp="1"/>
          </p:cNvSpPr>
          <p:nvPr>
            <p:ph sz="quarter" idx="23" hasCustomPrompt="1"/>
          </p:nvPr>
        </p:nvSpPr>
        <p:spPr>
          <a:xfrm>
            <a:off x="260650" y="3578561"/>
            <a:ext cx="4059321" cy="1094047"/>
          </a:xfrm>
        </p:spPr>
        <p:txBody>
          <a:bodyPr/>
          <a:lstStyle>
            <a:lvl1pPr marL="18097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2pPr>
            <a:lvl3pPr marL="54292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Wingdings" pitchFamily="2" charset="2"/>
              <a:buChar char="§"/>
              <a:defRPr sz="1200" baseline="0"/>
            </a:lvl4pPr>
            <a:lvl5pPr marL="1619250" indent="-180975">
              <a:buSzPct val="150000"/>
              <a:buFont typeface="Arial" pitchFamily="34" charset="0"/>
              <a:buChar char="◦"/>
              <a:defRPr sz="1200"/>
            </a:lvl5pPr>
          </a:lstStyle>
          <a:p>
            <a:pPr lvl="0"/>
            <a:r>
              <a:rPr lang="en-US" dirty="0" smtClean="0"/>
              <a:t>First Level (Arial, 12pt)</a:t>
            </a:r>
          </a:p>
        </p:txBody>
      </p:sp>
      <p:sp>
        <p:nvSpPr>
          <p:cNvPr id="17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232756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18" name="Rectangle 17"/>
            <p:cNvSpPr/>
            <p:nvPr userDrawn="1"/>
          </p:nvSpPr>
          <p:spPr>
            <a:xfrm>
              <a:off x="0" y="0"/>
              <a:ext cx="9144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19" name="Rectangle 18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20" name="Rectangle 19"/>
            <p:cNvSpPr/>
            <p:nvPr userDrawn="1"/>
          </p:nvSpPr>
          <p:spPr>
            <a:xfrm rot="5400000">
              <a:off x="5584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b="1" dirty="0"/>
            </a:p>
          </p:txBody>
        </p:sp>
        <p:sp>
          <p:nvSpPr>
            <p:cNvPr id="23" name="Rectangle 22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/Image Eq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26" name="Content Placeholder 25"/>
          <p:cNvSpPr>
            <a:spLocks noGrp="1"/>
          </p:cNvSpPr>
          <p:nvPr>
            <p:ph sz="quarter" idx="20" hasCustomPrompt="1"/>
          </p:nvPr>
        </p:nvSpPr>
        <p:spPr>
          <a:xfrm>
            <a:off x="4824029" y="2019299"/>
            <a:ext cx="3996443" cy="3286125"/>
          </a:xfrm>
        </p:spPr>
        <p:txBody>
          <a:bodyPr/>
          <a:lstStyle>
            <a:lvl1pPr marL="18097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Wingdings" pitchFamily="2" charset="2"/>
              <a:buChar char="§"/>
              <a:defRPr sz="1200" baseline="0"/>
            </a:lvl4pPr>
            <a:lvl5pPr marL="1619250" indent="-180975">
              <a:buSzPct val="150000"/>
              <a:buFont typeface="Arial" pitchFamily="34" charset="0"/>
              <a:buChar char="◦"/>
              <a:defRPr sz="120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18" name="Content Placeholder 25"/>
          <p:cNvSpPr>
            <a:spLocks noGrp="1"/>
          </p:cNvSpPr>
          <p:nvPr>
            <p:ph sz="quarter" idx="23" hasCustomPrompt="1"/>
          </p:nvPr>
        </p:nvSpPr>
        <p:spPr>
          <a:xfrm>
            <a:off x="260650" y="2019300"/>
            <a:ext cx="4059321" cy="3286125"/>
          </a:xfrm>
        </p:spPr>
        <p:txBody>
          <a:bodyPr/>
          <a:lstStyle>
            <a:lvl1pPr marL="18097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Wingdings" pitchFamily="2" charset="2"/>
              <a:buChar char="§"/>
              <a:defRPr sz="1200" baseline="0"/>
            </a:lvl4pPr>
            <a:lvl5pPr marL="1619250" indent="-180975">
              <a:buSzPct val="150000"/>
              <a:buFont typeface="Arial" pitchFamily="34" charset="0"/>
              <a:buChar char="◦"/>
              <a:defRPr sz="120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19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60650" y="1700808"/>
            <a:ext cx="4059322" cy="223365"/>
          </a:xfrm>
        </p:spPr>
        <p:txBody>
          <a:bodyPr/>
          <a:lstStyle>
            <a:lvl1pPr marL="228600" indent="-228600">
              <a:buNone/>
              <a:defRPr sz="12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Header of Box Below (Arial 12pt, Bold)</a:t>
            </a:r>
            <a:endParaRPr lang="en-CA" dirty="0"/>
          </a:p>
        </p:txBody>
      </p:sp>
      <p:sp>
        <p:nvSpPr>
          <p:cNvPr id="20" name="Text Placeholder 53"/>
          <p:cNvSpPr>
            <a:spLocks noGrp="1"/>
          </p:cNvSpPr>
          <p:nvPr>
            <p:ph type="body" sz="quarter" idx="24" hasCustomPrompt="1"/>
          </p:nvPr>
        </p:nvSpPr>
        <p:spPr>
          <a:xfrm>
            <a:off x="4824029" y="1700808"/>
            <a:ext cx="3996443" cy="223365"/>
          </a:xfrm>
        </p:spPr>
        <p:txBody>
          <a:bodyPr/>
          <a:lstStyle>
            <a:lvl1pPr marL="228600" indent="-228600">
              <a:buNone/>
              <a:defRPr sz="12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Header of Box Below (Arial 12pt, Bold)</a:t>
            </a:r>
            <a:endParaRPr lang="en-CA" dirty="0"/>
          </a:p>
        </p:txBody>
      </p:sp>
      <p:sp>
        <p:nvSpPr>
          <p:cNvPr id="25" name="Text Placeholder 41"/>
          <p:cNvSpPr>
            <a:spLocks noGrp="1"/>
          </p:cNvSpPr>
          <p:nvPr>
            <p:ph type="body" sz="quarter" idx="18" hasCustomPrompt="1"/>
          </p:nvPr>
        </p:nvSpPr>
        <p:spPr>
          <a:xfrm>
            <a:off x="260650" y="5387083"/>
            <a:ext cx="4059321" cy="634206"/>
          </a:xfrm>
        </p:spPr>
        <p:txBody>
          <a:bodyPr/>
          <a:lstStyle>
            <a:lvl1pPr marL="0" marR="0" indent="0" algn="l" defTabSz="895350" rtl="0" eaLnBrk="0" fontAlgn="base" latinLnBrk="0" hangingPunct="0">
              <a:lnSpc>
                <a:spcPct val="10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20000"/>
              <a:buFontTx/>
              <a:buNone/>
              <a:tabLst/>
              <a:defRPr sz="1200" b="0" baseline="0">
                <a:solidFill>
                  <a:schemeClr val="tx1"/>
                </a:solidFill>
              </a:defRPr>
            </a:lvl1pPr>
            <a:lvl2pPr marL="0" indent="0" defTabSz="895350">
              <a:lnSpc>
                <a:spcPts val="1350"/>
              </a:lnSpc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2pPr>
            <a:lvl3pPr marL="0" indent="0" defTabSz="895350">
              <a:lnSpc>
                <a:spcPts val="1350"/>
              </a:lnSpc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3pPr>
            <a:lvl4pPr marL="1614488" indent="-174625">
              <a:lnSpc>
                <a:spcPts val="1350"/>
              </a:lnSpc>
              <a:defRPr sz="1200">
                <a:solidFill>
                  <a:schemeClr val="accent5"/>
                </a:solidFill>
              </a:defRPr>
            </a:lvl4pPr>
            <a:lvl5pPr marL="2062163" indent="-174625">
              <a:lnSpc>
                <a:spcPts val="1350"/>
              </a:lnSpc>
              <a:tabLst/>
              <a:defRPr sz="120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 smtClean="0"/>
              <a:t>Copy (Arial, 12pt)</a:t>
            </a:r>
          </a:p>
          <a:p>
            <a:pPr lvl="0"/>
            <a:endParaRPr lang="en-US" dirty="0" smtClean="0"/>
          </a:p>
        </p:txBody>
      </p:sp>
      <p:sp>
        <p:nvSpPr>
          <p:cNvPr id="28" name="Text Placeholder 41"/>
          <p:cNvSpPr>
            <a:spLocks noGrp="1"/>
          </p:cNvSpPr>
          <p:nvPr>
            <p:ph type="body" sz="quarter" idx="25" hasCustomPrompt="1"/>
          </p:nvPr>
        </p:nvSpPr>
        <p:spPr>
          <a:xfrm>
            <a:off x="4824029" y="5387083"/>
            <a:ext cx="3996443" cy="634206"/>
          </a:xfrm>
        </p:spPr>
        <p:txBody>
          <a:bodyPr/>
          <a:lstStyle>
            <a:lvl1pPr marL="0" marR="0" indent="0" algn="l" defTabSz="895350" rtl="0" eaLnBrk="0" fontAlgn="base" latinLnBrk="0" hangingPunct="0">
              <a:lnSpc>
                <a:spcPct val="10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20000"/>
              <a:buFontTx/>
              <a:buNone/>
              <a:tabLst/>
              <a:defRPr sz="1200" b="0" baseline="0">
                <a:solidFill>
                  <a:schemeClr val="tx1"/>
                </a:solidFill>
              </a:defRPr>
            </a:lvl1pPr>
            <a:lvl2pPr marL="0" indent="0" defTabSz="895350">
              <a:lnSpc>
                <a:spcPts val="1350"/>
              </a:lnSpc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2pPr>
            <a:lvl3pPr marL="0" indent="0" defTabSz="895350">
              <a:lnSpc>
                <a:spcPts val="1350"/>
              </a:lnSpc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3pPr>
            <a:lvl4pPr marL="1614488" indent="-174625">
              <a:lnSpc>
                <a:spcPts val="1350"/>
              </a:lnSpc>
              <a:defRPr sz="1200">
                <a:solidFill>
                  <a:schemeClr val="accent5"/>
                </a:solidFill>
              </a:defRPr>
            </a:lvl4pPr>
            <a:lvl5pPr marL="2062163" indent="-174625">
              <a:lnSpc>
                <a:spcPts val="1350"/>
              </a:lnSpc>
              <a:tabLst/>
              <a:defRPr sz="120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 smtClean="0"/>
              <a:t>Copy (Arial, 12pt)</a:t>
            </a:r>
          </a:p>
          <a:p>
            <a:pPr lvl="0"/>
            <a:endParaRPr lang="en-US" dirty="0" smtClean="0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17" name="Rectangle 16"/>
            <p:cNvSpPr/>
            <p:nvPr userDrawn="1"/>
          </p:nvSpPr>
          <p:spPr>
            <a:xfrm>
              <a:off x="0" y="0"/>
              <a:ext cx="9144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21" name="Rectangle 20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22" name="Rectangle 21"/>
            <p:cNvSpPr/>
            <p:nvPr userDrawn="1"/>
          </p:nvSpPr>
          <p:spPr>
            <a:xfrm rot="5400000">
              <a:off x="5584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b="1" dirty="0"/>
            </a:p>
          </p:txBody>
        </p:sp>
        <p:sp>
          <p:nvSpPr>
            <p:cNvPr id="24" name="Rectangle 23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</p:grp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960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223962" y="1196974"/>
            <a:ext cx="6480385" cy="4464273"/>
          </a:xfrm>
        </p:spPr>
        <p:txBody>
          <a:bodyPr/>
          <a:lstStyle>
            <a:lvl1pPr algn="ctr">
              <a:buFontTx/>
              <a:buNone/>
              <a:defRPr sz="8800" baseline="0">
                <a:solidFill>
                  <a:schemeClr val="bg1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Thought</a:t>
            </a:r>
          </a:p>
          <a:p>
            <a:pPr lvl="0"/>
            <a:r>
              <a:rPr lang="en-US" dirty="0" smtClean="0"/>
              <a:t>Model</a:t>
            </a:r>
            <a:br>
              <a:rPr lang="en-US" dirty="0" smtClean="0"/>
            </a:br>
            <a:r>
              <a:rPr lang="en-US" dirty="0" smtClean="0"/>
              <a:t>Layouts</a:t>
            </a:r>
            <a:endParaRPr lang="en-CA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er / Subhead / Body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232756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  <p:sp>
        <p:nvSpPr>
          <p:cNvPr id="55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2" y="1880828"/>
            <a:ext cx="8627997" cy="4455172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558062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5940425" y="116632"/>
            <a:ext cx="3060067" cy="864741"/>
          </a:xfrm>
          <a:solidFill>
            <a:schemeClr val="accent1"/>
          </a:solidFill>
        </p:spPr>
        <p:txBody>
          <a:bodyPr/>
          <a:lstStyle>
            <a:lvl1pPr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en-CA" dirty="0" smtClean="0"/>
          </a:p>
          <a:p>
            <a:pPr lvl="0"/>
            <a:r>
              <a:rPr lang="en-CA" dirty="0" smtClean="0"/>
              <a:t>Replace with Thought Model</a:t>
            </a:r>
          </a:p>
          <a:p>
            <a:pPr lvl="0"/>
            <a:r>
              <a:rPr lang="en-CA" dirty="0" smtClean="0"/>
              <a:t>(must fit within this boxed area)</a:t>
            </a:r>
          </a:p>
        </p:txBody>
      </p:sp>
      <p:grpSp>
        <p:nvGrpSpPr>
          <p:cNvPr id="17" name="Group 16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20" name="Rectangle 19"/>
            <p:cNvSpPr/>
            <p:nvPr userDrawn="1"/>
          </p:nvSpPr>
          <p:spPr>
            <a:xfrm>
              <a:off x="0" y="0"/>
              <a:ext cx="583214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21" name="Rectangle 20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22" name="Rectangle 21"/>
            <p:cNvSpPr/>
            <p:nvPr userDrawn="1"/>
          </p:nvSpPr>
          <p:spPr>
            <a:xfrm rot="5400000">
              <a:off x="6147048" y="3861048"/>
              <a:ext cx="5733256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b="1" dirty="0"/>
            </a:p>
          </p:txBody>
        </p:sp>
        <p:sp>
          <p:nvSpPr>
            <p:cNvPr id="23" name="Rectangle 22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</p:grp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er / Body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2" y="1376772"/>
            <a:ext cx="8627997" cy="4973925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558062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14" name="Rectangle 13"/>
            <p:cNvSpPr/>
            <p:nvPr userDrawn="1"/>
          </p:nvSpPr>
          <p:spPr>
            <a:xfrm>
              <a:off x="0" y="0"/>
              <a:ext cx="583214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15" name="Rectangle 14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16" name="Rectangle 15"/>
            <p:cNvSpPr/>
            <p:nvPr userDrawn="1"/>
          </p:nvSpPr>
          <p:spPr>
            <a:xfrm rot="5400000">
              <a:off x="6147048" y="3861048"/>
              <a:ext cx="5733256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b="1" dirty="0"/>
            </a:p>
          </p:txBody>
        </p:sp>
        <p:sp>
          <p:nvSpPr>
            <p:cNvPr id="17" name="Rectangle 16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</p:grpSp>
      <p:sp>
        <p:nvSpPr>
          <p:cNvPr id="18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5940425" y="116632"/>
            <a:ext cx="3060067" cy="864741"/>
          </a:xfrm>
          <a:solidFill>
            <a:schemeClr val="accent1"/>
          </a:solidFill>
        </p:spPr>
        <p:txBody>
          <a:bodyPr/>
          <a:lstStyle>
            <a:lvl1pPr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en-CA" dirty="0" smtClean="0"/>
          </a:p>
          <a:p>
            <a:pPr lvl="0"/>
            <a:r>
              <a:rPr lang="en-CA" dirty="0" smtClean="0"/>
              <a:t>Replace with Thought Model</a:t>
            </a:r>
          </a:p>
          <a:p>
            <a:pPr lvl="0"/>
            <a:r>
              <a:rPr lang="en-CA" dirty="0" smtClean="0"/>
              <a:t>(must fit within this boxed area)</a:t>
            </a: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558062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grpSp>
        <p:nvGrpSpPr>
          <p:cNvPr id="10" name="Group 9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13" name="Rectangle 12"/>
            <p:cNvSpPr/>
            <p:nvPr userDrawn="1"/>
          </p:nvSpPr>
          <p:spPr>
            <a:xfrm>
              <a:off x="0" y="0"/>
              <a:ext cx="583214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14" name="Rectangle 13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15" name="Rectangle 14"/>
            <p:cNvSpPr/>
            <p:nvPr userDrawn="1"/>
          </p:nvSpPr>
          <p:spPr>
            <a:xfrm rot="5400000">
              <a:off x="6147048" y="3861048"/>
              <a:ext cx="5733256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b="1" dirty="0"/>
            </a:p>
          </p:txBody>
        </p:sp>
        <p:sp>
          <p:nvSpPr>
            <p:cNvPr id="16" name="Rectangle 15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</p:grpSp>
      <p:sp>
        <p:nvSpPr>
          <p:cNvPr id="17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5940425" y="116632"/>
            <a:ext cx="3060067" cy="864741"/>
          </a:xfrm>
          <a:solidFill>
            <a:schemeClr val="accent1"/>
          </a:solidFill>
        </p:spPr>
        <p:txBody>
          <a:bodyPr/>
          <a:lstStyle>
            <a:lvl1pPr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en-CA" dirty="0" smtClean="0"/>
          </a:p>
          <a:p>
            <a:pPr lvl="0"/>
            <a:r>
              <a:rPr lang="en-CA" dirty="0" smtClean="0"/>
              <a:t>Replace with Thought Model</a:t>
            </a:r>
          </a:p>
          <a:p>
            <a:pPr lvl="0"/>
            <a:r>
              <a:rPr lang="en-CA" dirty="0" smtClean="0"/>
              <a:t>(must fit within this boxed area)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27"/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687148" y="3060700"/>
            <a:ext cx="7454900" cy="660400"/>
          </a:xfrm>
        </p:spPr>
        <p:txBody>
          <a:bodyPr/>
          <a:lstStyle>
            <a:lvl1pPr marL="0" indent="0">
              <a:lnSpc>
                <a:spcPts val="3200"/>
              </a:lnSpc>
              <a:buClr>
                <a:schemeClr val="accent2"/>
              </a:buClr>
              <a:buSzPct val="160000"/>
              <a:buFontTx/>
              <a:buNone/>
              <a:defRPr sz="2400" baseline="0">
                <a:latin typeface="+mj-lt"/>
              </a:defRPr>
            </a:lvl1pPr>
            <a:lvl2pPr>
              <a:buNone/>
              <a:defRPr sz="2800">
                <a:latin typeface="+mj-lt"/>
              </a:defRPr>
            </a:lvl2pPr>
            <a:lvl3pPr>
              <a:buNone/>
              <a:defRPr sz="2800">
                <a:latin typeface="+mj-lt"/>
              </a:defRPr>
            </a:lvl3pPr>
            <a:lvl4pPr>
              <a:buNone/>
              <a:defRPr sz="2800">
                <a:latin typeface="+mj-lt"/>
              </a:defRPr>
            </a:lvl4pPr>
            <a:lvl5pPr>
              <a:buNone/>
              <a:defRPr sz="2800">
                <a:latin typeface="+mj-lt"/>
              </a:defRPr>
            </a:lvl5pPr>
          </a:lstStyle>
          <a:p>
            <a:pPr lvl="0"/>
            <a:r>
              <a:rPr lang="en-US" dirty="0" smtClean="0"/>
              <a:t>Section Headline (Georgia, 24pt)</a:t>
            </a:r>
            <a:endParaRPr lang="en-CA" dirty="0"/>
          </a:p>
        </p:txBody>
      </p:sp>
      <p:sp>
        <p:nvSpPr>
          <p:cNvPr id="51" name="Text Placeholder 41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336196" y="4298777"/>
            <a:ext cx="2373549" cy="1938535"/>
          </a:xfrm>
        </p:spPr>
        <p:txBody>
          <a:bodyPr/>
          <a:lstStyle>
            <a:lvl1pPr marL="0" marR="0" indent="0" algn="l" defTabSz="895350" rtl="0" eaLnBrk="0" fontAlgn="base" latinLnBrk="0" hangingPunct="0">
              <a:lnSpc>
                <a:spcPct val="10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20000"/>
              <a:buFontTx/>
              <a:buNone/>
              <a:tabLst/>
              <a:defRPr sz="1200" b="0" baseline="0">
                <a:solidFill>
                  <a:schemeClr val="tx1"/>
                </a:solidFill>
              </a:defRPr>
            </a:lvl1pPr>
            <a:lvl2pPr marL="0" indent="0" defTabSz="895350">
              <a:lnSpc>
                <a:spcPts val="1350"/>
              </a:lnSpc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2pPr>
            <a:lvl3pPr marL="0" indent="0" defTabSz="895350">
              <a:lnSpc>
                <a:spcPts val="1350"/>
              </a:lnSpc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3pPr>
            <a:lvl4pPr marL="1614488" indent="-174625">
              <a:lnSpc>
                <a:spcPts val="1350"/>
              </a:lnSpc>
              <a:defRPr sz="1200">
                <a:solidFill>
                  <a:schemeClr val="accent5"/>
                </a:solidFill>
              </a:defRPr>
            </a:lvl4pPr>
            <a:lvl5pPr marL="2062163" indent="-174625">
              <a:lnSpc>
                <a:spcPts val="1350"/>
              </a:lnSpc>
              <a:tabLst/>
              <a:defRPr sz="120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 smtClean="0"/>
              <a:t>Solution Set Sections (Arial, 12)</a:t>
            </a:r>
          </a:p>
          <a:p>
            <a:pPr lvl="0"/>
            <a:endParaRPr lang="en-US" dirty="0" smtClean="0"/>
          </a:p>
          <a:p>
            <a:pPr lvl="0"/>
            <a:endParaRPr lang="en-US" dirty="0" smtClean="0"/>
          </a:p>
        </p:txBody>
      </p:sp>
      <p:sp>
        <p:nvSpPr>
          <p:cNvPr id="30" name="Text Placeholder 41"/>
          <p:cNvSpPr>
            <a:spLocks noGrp="1"/>
          </p:cNvSpPr>
          <p:nvPr>
            <p:ph type="body" sz="quarter" idx="21" hasCustomPrompt="1"/>
          </p:nvPr>
        </p:nvSpPr>
        <p:spPr>
          <a:xfrm>
            <a:off x="791580" y="4311718"/>
            <a:ext cx="4436996" cy="1906138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4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4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40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4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Contents of Current Section (Arial, 14pt)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rth Level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798362" y="3980093"/>
            <a:ext cx="269351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CA" sz="1400" b="1" dirty="0" smtClean="0"/>
              <a:t>What’s in</a:t>
            </a:r>
            <a:r>
              <a:rPr lang="en-CA" sz="1400" b="1" baseline="0" dirty="0" smtClean="0"/>
              <a:t> this Section:</a:t>
            </a:r>
            <a:endParaRPr lang="en-CA" sz="1400" b="1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6096687" y="3980093"/>
            <a:ext cx="102557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CA" sz="1400" b="1" dirty="0" smtClean="0"/>
              <a:t>Sections:</a:t>
            </a:r>
            <a:endParaRPr lang="en-CA" sz="1400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endor Landscape 40/6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558062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14" name="Rectangle 13"/>
            <p:cNvSpPr/>
            <p:nvPr userDrawn="1"/>
          </p:nvSpPr>
          <p:spPr>
            <a:xfrm>
              <a:off x="0" y="0"/>
              <a:ext cx="583214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15" name="Rectangle 14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16" name="Rectangle 15"/>
            <p:cNvSpPr/>
            <p:nvPr userDrawn="1"/>
          </p:nvSpPr>
          <p:spPr>
            <a:xfrm rot="5400000">
              <a:off x="6147048" y="3861048"/>
              <a:ext cx="5733256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b="1" dirty="0"/>
            </a:p>
          </p:txBody>
        </p:sp>
        <p:sp>
          <p:nvSpPr>
            <p:cNvPr id="17" name="Rectangle 16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</p:grpSp>
      <p:sp>
        <p:nvSpPr>
          <p:cNvPr id="18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5940425" y="116632"/>
            <a:ext cx="3060067" cy="864741"/>
          </a:xfrm>
          <a:solidFill>
            <a:schemeClr val="accent1"/>
          </a:solidFill>
        </p:spPr>
        <p:txBody>
          <a:bodyPr/>
          <a:lstStyle>
            <a:lvl1pPr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en-CA" dirty="0" smtClean="0"/>
          </a:p>
          <a:p>
            <a:pPr lvl="0"/>
            <a:r>
              <a:rPr lang="en-CA" dirty="0" smtClean="0"/>
              <a:t>Replace with Thought Model</a:t>
            </a:r>
          </a:p>
          <a:p>
            <a:pPr lvl="0"/>
            <a:r>
              <a:rPr lang="en-CA" dirty="0" smtClean="0"/>
              <a:t>(must fit within this boxed area)</a:t>
            </a: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ft/Right Blank &amp;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232756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558062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15" name="Rectangle 14"/>
            <p:cNvSpPr/>
            <p:nvPr userDrawn="1"/>
          </p:nvSpPr>
          <p:spPr>
            <a:xfrm>
              <a:off x="0" y="0"/>
              <a:ext cx="583214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16" name="Rectangle 15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17" name="Rectangle 16"/>
            <p:cNvSpPr/>
            <p:nvPr userDrawn="1"/>
          </p:nvSpPr>
          <p:spPr>
            <a:xfrm rot="5400000">
              <a:off x="6147048" y="3861048"/>
              <a:ext cx="5733256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b="1" dirty="0"/>
            </a:p>
          </p:txBody>
        </p:sp>
        <p:sp>
          <p:nvSpPr>
            <p:cNvPr id="18" name="Rectangle 17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</p:grpSp>
      <p:sp>
        <p:nvSpPr>
          <p:cNvPr id="19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5940425" y="116632"/>
            <a:ext cx="3060067" cy="864741"/>
          </a:xfrm>
          <a:solidFill>
            <a:schemeClr val="accent1"/>
          </a:solidFill>
        </p:spPr>
        <p:txBody>
          <a:bodyPr/>
          <a:lstStyle>
            <a:lvl1pPr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en-CA" dirty="0" smtClean="0"/>
          </a:p>
          <a:p>
            <a:pPr lvl="0"/>
            <a:r>
              <a:rPr lang="en-CA" dirty="0" smtClean="0"/>
              <a:t>Replace with Thought Model</a:t>
            </a:r>
          </a:p>
          <a:p>
            <a:pPr lvl="0"/>
            <a:r>
              <a:rPr lang="en-CA" dirty="0" smtClean="0"/>
              <a:t>(must fit within this boxed area)</a:t>
            </a:r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ft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232756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  <p:sp>
        <p:nvSpPr>
          <p:cNvPr id="13" name="Content Placeholder 25"/>
          <p:cNvSpPr>
            <a:spLocks noGrp="1"/>
          </p:cNvSpPr>
          <p:nvPr>
            <p:ph sz="quarter" idx="20" hasCustomPrompt="1"/>
          </p:nvPr>
        </p:nvSpPr>
        <p:spPr>
          <a:xfrm>
            <a:off x="5581649" y="1889980"/>
            <a:ext cx="3238823" cy="3029881"/>
          </a:xfrm>
        </p:spPr>
        <p:txBody>
          <a:bodyPr/>
          <a:lstStyle>
            <a:lvl1pPr marL="180975" indent="-180975"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2pPr>
            <a:lvl3pPr marL="542925" indent="-180975"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buClr>
                <a:schemeClr val="tx1"/>
              </a:buClr>
              <a:buSzPct val="100000"/>
              <a:buFont typeface="Wingdings" pitchFamily="2" charset="2"/>
              <a:buChar char="§"/>
              <a:defRPr sz="1200" baseline="0"/>
            </a:lvl4pPr>
            <a:lvl5pPr marL="1619250" indent="-180975">
              <a:buSzPct val="150000"/>
              <a:buFont typeface="Arial" pitchFamily="34" charset="0"/>
              <a:buChar char="◦"/>
              <a:defRPr sz="120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14" name="Text Placeholder 41"/>
          <p:cNvSpPr>
            <a:spLocks noGrp="1"/>
          </p:cNvSpPr>
          <p:nvPr>
            <p:ph type="body" sz="quarter" idx="21" hasCustomPrompt="1"/>
          </p:nvPr>
        </p:nvSpPr>
        <p:spPr>
          <a:xfrm>
            <a:off x="5581649" y="4919861"/>
            <a:ext cx="3238823" cy="314325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Tx/>
              <a:buNone/>
              <a:defRPr sz="1200" baseline="0"/>
            </a:lvl1pPr>
            <a:lvl2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Tx/>
              <a:buNone/>
              <a:defRPr sz="1200"/>
            </a:lvl2pPr>
            <a:lvl3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Tx/>
              <a:buNone/>
              <a:defRPr sz="1200"/>
            </a:lvl3pPr>
            <a:lvl4pPr marL="0" indent="0">
              <a:lnSpc>
                <a:spcPts val="1350"/>
              </a:lnSpc>
              <a:spcBef>
                <a:spcPts val="500"/>
              </a:spcBef>
              <a:buSzPct val="100000"/>
              <a:buFontTx/>
              <a:buNone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Above Image/Chart Caption (Arial, 12pt)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558062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grpSp>
        <p:nvGrpSpPr>
          <p:cNvPr id="22" name="Group 21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23" name="Rectangle 22"/>
            <p:cNvSpPr/>
            <p:nvPr userDrawn="1"/>
          </p:nvSpPr>
          <p:spPr>
            <a:xfrm>
              <a:off x="0" y="0"/>
              <a:ext cx="583214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24" name="Rectangle 23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25" name="Rectangle 24"/>
            <p:cNvSpPr/>
            <p:nvPr userDrawn="1"/>
          </p:nvSpPr>
          <p:spPr>
            <a:xfrm rot="5400000">
              <a:off x="6147048" y="3861048"/>
              <a:ext cx="5733256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b="1" dirty="0"/>
            </a:p>
          </p:txBody>
        </p:sp>
        <p:sp>
          <p:nvSpPr>
            <p:cNvPr id="26" name="Rectangle 25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</p:grpSp>
      <p:sp>
        <p:nvSpPr>
          <p:cNvPr id="27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5940425" y="116632"/>
            <a:ext cx="3060067" cy="864741"/>
          </a:xfrm>
          <a:solidFill>
            <a:schemeClr val="accent1"/>
          </a:solidFill>
        </p:spPr>
        <p:txBody>
          <a:bodyPr/>
          <a:lstStyle>
            <a:lvl1pPr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en-CA" dirty="0" smtClean="0"/>
          </a:p>
          <a:p>
            <a:pPr lvl="0"/>
            <a:r>
              <a:rPr lang="en-CA" dirty="0" smtClean="0"/>
              <a:t>Replace with Thought Model</a:t>
            </a:r>
          </a:p>
          <a:p>
            <a:pPr lvl="0"/>
            <a:r>
              <a:rPr lang="en-CA" dirty="0" smtClean="0"/>
              <a:t>(must fit within this boxed area)</a:t>
            </a:r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ight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232756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  <p:sp>
        <p:nvSpPr>
          <p:cNvPr id="20" name="Text Placeholder 41"/>
          <p:cNvSpPr>
            <a:spLocks noGrp="1"/>
          </p:cNvSpPr>
          <p:nvPr>
            <p:ph type="body" sz="quarter" idx="22" hasCustomPrompt="1"/>
          </p:nvPr>
        </p:nvSpPr>
        <p:spPr>
          <a:xfrm>
            <a:off x="249303" y="5369522"/>
            <a:ext cx="4713221" cy="825760"/>
          </a:xfrm>
        </p:spPr>
        <p:txBody>
          <a:bodyPr/>
          <a:lstStyle>
            <a:lvl1pPr marL="0" indent="0">
              <a:lnSpc>
                <a:spcPts val="1350"/>
              </a:lnSpc>
              <a:spcBef>
                <a:spcPts val="500"/>
              </a:spcBef>
              <a:buClr>
                <a:schemeClr val="bg1"/>
              </a:buClr>
              <a:buSzPct val="25000"/>
              <a:buFont typeface="Arial" pitchFamily="34" charset="0"/>
              <a:buChar char="•"/>
              <a:defRPr sz="1400" i="1" baseline="0">
                <a:solidFill>
                  <a:schemeClr val="tx1"/>
                </a:solidFill>
                <a:latin typeface="+mj-lt"/>
              </a:defRPr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accent2"/>
              </a:buClr>
              <a:buSzPct val="100000"/>
              <a:buFont typeface="Arial" pitchFamily="34" charset="0"/>
              <a:buChar char="-"/>
              <a:defRPr sz="1200">
                <a:solidFill>
                  <a:schemeClr val="tx1"/>
                </a:solidFill>
              </a:defRPr>
            </a:lvl2pPr>
            <a:lvl3pPr marL="895350" indent="-176213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/>
            </a:lvl3pPr>
            <a:lvl4pPr marL="1254125" indent="-174625">
              <a:lnSpc>
                <a:spcPts val="135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Quote – Body Level (Georgia, 14pt)</a:t>
            </a:r>
          </a:p>
          <a:p>
            <a:pPr lvl="1"/>
            <a:r>
              <a:rPr lang="en-US" dirty="0" smtClean="0"/>
              <a:t>IT Role, IT Industry (Arial, 12pt)</a:t>
            </a:r>
          </a:p>
        </p:txBody>
      </p:sp>
      <p:sp>
        <p:nvSpPr>
          <p:cNvPr id="25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3" y="1892896"/>
            <a:ext cx="4713222" cy="3273685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 defTabSz="895350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 baseline="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558062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15" name="Rectangle 14"/>
            <p:cNvSpPr/>
            <p:nvPr userDrawn="1"/>
          </p:nvSpPr>
          <p:spPr>
            <a:xfrm>
              <a:off x="0" y="0"/>
              <a:ext cx="583214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16" name="Rectangle 15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17" name="Rectangle 16"/>
            <p:cNvSpPr/>
            <p:nvPr userDrawn="1"/>
          </p:nvSpPr>
          <p:spPr>
            <a:xfrm rot="5400000">
              <a:off x="6147048" y="3861048"/>
              <a:ext cx="5733256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b="1" dirty="0"/>
            </a:p>
          </p:txBody>
        </p:sp>
        <p:sp>
          <p:nvSpPr>
            <p:cNvPr id="18" name="Rectangle 17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</p:grpSp>
      <p:sp>
        <p:nvSpPr>
          <p:cNvPr id="19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5940425" y="116632"/>
            <a:ext cx="3060067" cy="864741"/>
          </a:xfrm>
          <a:solidFill>
            <a:schemeClr val="accent1"/>
          </a:solidFill>
        </p:spPr>
        <p:txBody>
          <a:bodyPr/>
          <a:lstStyle>
            <a:lvl1pPr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en-CA" dirty="0" smtClean="0"/>
          </a:p>
          <a:p>
            <a:pPr lvl="0"/>
            <a:r>
              <a:rPr lang="en-CA" dirty="0" smtClean="0"/>
              <a:t>Replace with Thought Model</a:t>
            </a:r>
          </a:p>
          <a:p>
            <a:pPr lvl="0"/>
            <a:r>
              <a:rPr lang="en-CA" dirty="0" smtClean="0"/>
              <a:t>(must fit within this boxed area)</a:t>
            </a:r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py/Image (60/40) &amp;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3" y="1892896"/>
            <a:ext cx="4713222" cy="3273685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26" name="Content Placeholder 25"/>
          <p:cNvSpPr>
            <a:spLocks noGrp="1"/>
          </p:cNvSpPr>
          <p:nvPr>
            <p:ph sz="quarter" idx="20" hasCustomPrompt="1"/>
          </p:nvPr>
        </p:nvSpPr>
        <p:spPr>
          <a:xfrm>
            <a:off x="5581649" y="1889980"/>
            <a:ext cx="3238823" cy="3029881"/>
          </a:xfrm>
        </p:spPr>
        <p:txBody>
          <a:bodyPr/>
          <a:lstStyle>
            <a:lvl1pPr marL="180975" indent="-180975"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2pPr>
            <a:lvl3pPr marL="542925" indent="-180975"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buClr>
                <a:schemeClr val="tx1"/>
              </a:buClr>
              <a:buSzPct val="100000"/>
              <a:buFont typeface="Wingdings" pitchFamily="2" charset="2"/>
              <a:buChar char="§"/>
              <a:defRPr sz="1200" baseline="0"/>
            </a:lvl4pPr>
            <a:lvl5pPr marL="1619250" indent="-180975">
              <a:buSzPct val="150000"/>
              <a:buFont typeface="Arial" pitchFamily="34" charset="0"/>
              <a:buChar char="◦"/>
              <a:defRPr sz="120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27" name="Text Placeholder 41"/>
          <p:cNvSpPr>
            <a:spLocks noGrp="1"/>
          </p:cNvSpPr>
          <p:nvPr>
            <p:ph type="body" sz="quarter" idx="21" hasCustomPrompt="1"/>
          </p:nvPr>
        </p:nvSpPr>
        <p:spPr>
          <a:xfrm>
            <a:off x="5581649" y="4919861"/>
            <a:ext cx="3238823" cy="314325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Tx/>
              <a:buNone/>
              <a:defRPr sz="1200" baseline="0"/>
            </a:lvl1pPr>
            <a:lvl2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Tx/>
              <a:buNone/>
              <a:defRPr sz="1200"/>
            </a:lvl2pPr>
            <a:lvl3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Tx/>
              <a:buNone/>
              <a:defRPr sz="1200"/>
            </a:lvl3pPr>
            <a:lvl4pPr marL="0" indent="0">
              <a:lnSpc>
                <a:spcPts val="1350"/>
              </a:lnSpc>
              <a:spcBef>
                <a:spcPts val="500"/>
              </a:spcBef>
              <a:buSzPct val="100000"/>
              <a:buFontTx/>
              <a:buNone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Above Image/Chart Caption (Arial, 12pt)</a:t>
            </a:r>
          </a:p>
        </p:txBody>
      </p:sp>
      <p:sp>
        <p:nvSpPr>
          <p:cNvPr id="29" name="Text Placeholder 41"/>
          <p:cNvSpPr>
            <a:spLocks noGrp="1"/>
          </p:cNvSpPr>
          <p:nvPr>
            <p:ph type="body" sz="quarter" idx="22" hasCustomPrompt="1"/>
          </p:nvPr>
        </p:nvSpPr>
        <p:spPr>
          <a:xfrm>
            <a:off x="249303" y="5369522"/>
            <a:ext cx="4713221" cy="825760"/>
          </a:xfrm>
        </p:spPr>
        <p:txBody>
          <a:bodyPr/>
          <a:lstStyle>
            <a:lvl1pPr marL="0" indent="0">
              <a:lnSpc>
                <a:spcPts val="1350"/>
              </a:lnSpc>
              <a:spcBef>
                <a:spcPts val="500"/>
              </a:spcBef>
              <a:buClr>
                <a:schemeClr val="bg1"/>
              </a:buClr>
              <a:buSzPct val="25000"/>
              <a:buFont typeface="Arial" pitchFamily="34" charset="0"/>
              <a:buChar char="•"/>
              <a:defRPr sz="1400" i="1" baseline="0">
                <a:solidFill>
                  <a:schemeClr val="tx1"/>
                </a:solidFill>
                <a:latin typeface="+mj-lt"/>
              </a:defRPr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accent2"/>
              </a:buClr>
              <a:buSzPct val="100000"/>
              <a:buFont typeface="Arial" pitchFamily="34" charset="0"/>
              <a:buChar char="-"/>
              <a:defRPr sz="1200">
                <a:solidFill>
                  <a:schemeClr val="tx1"/>
                </a:solidFill>
              </a:defRPr>
            </a:lvl2pPr>
            <a:lvl3pPr marL="895350" indent="-176213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/>
            </a:lvl3pPr>
            <a:lvl4pPr marL="1254125" indent="-174625">
              <a:lnSpc>
                <a:spcPts val="135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Quote – Body Level (Georgia, 14pt)</a:t>
            </a:r>
          </a:p>
          <a:p>
            <a:pPr lvl="1"/>
            <a:r>
              <a:rPr lang="en-US" dirty="0" smtClean="0"/>
              <a:t>IT Role, IT Industry (Arial, 12pt)</a:t>
            </a:r>
          </a:p>
        </p:txBody>
      </p:sp>
      <p:sp>
        <p:nvSpPr>
          <p:cNvPr id="33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232756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558062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17" name="Rectangle 16"/>
            <p:cNvSpPr/>
            <p:nvPr userDrawn="1"/>
          </p:nvSpPr>
          <p:spPr>
            <a:xfrm>
              <a:off x="0" y="0"/>
              <a:ext cx="583214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18" name="Rectangle 17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19" name="Rectangle 18"/>
            <p:cNvSpPr/>
            <p:nvPr userDrawn="1"/>
          </p:nvSpPr>
          <p:spPr>
            <a:xfrm rot="5400000">
              <a:off x="6147048" y="3861048"/>
              <a:ext cx="5733256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b="1" dirty="0"/>
            </a:p>
          </p:txBody>
        </p:sp>
        <p:sp>
          <p:nvSpPr>
            <p:cNvPr id="20" name="Rectangle 19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</p:grpSp>
      <p:sp>
        <p:nvSpPr>
          <p:cNvPr id="21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5940425" y="116632"/>
            <a:ext cx="3060067" cy="864741"/>
          </a:xfrm>
          <a:solidFill>
            <a:schemeClr val="accent1"/>
          </a:solidFill>
        </p:spPr>
        <p:txBody>
          <a:bodyPr/>
          <a:lstStyle>
            <a:lvl1pPr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en-CA" dirty="0" smtClean="0"/>
          </a:p>
          <a:p>
            <a:pPr lvl="0"/>
            <a:r>
              <a:rPr lang="en-CA" dirty="0" smtClean="0"/>
              <a:t>Replace with Thought Model</a:t>
            </a:r>
          </a:p>
          <a:p>
            <a:pPr lvl="0"/>
            <a:r>
              <a:rPr lang="en-CA" dirty="0" smtClean="0"/>
              <a:t>(must fit within this boxed area)</a:t>
            </a:r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py/Image Eq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Content Placeholder 25"/>
          <p:cNvSpPr>
            <a:spLocks noGrp="1"/>
          </p:cNvSpPr>
          <p:nvPr>
            <p:ph sz="quarter" idx="20" hasCustomPrompt="1"/>
          </p:nvPr>
        </p:nvSpPr>
        <p:spPr>
          <a:xfrm>
            <a:off x="4824029" y="2019299"/>
            <a:ext cx="3996443" cy="3286125"/>
          </a:xfrm>
        </p:spPr>
        <p:txBody>
          <a:bodyPr/>
          <a:lstStyle>
            <a:lvl1pPr marL="18097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Wingdings" pitchFamily="2" charset="2"/>
              <a:buChar char="§"/>
              <a:defRPr sz="1200" baseline="0"/>
            </a:lvl4pPr>
            <a:lvl5pPr marL="1619250" indent="-180975">
              <a:buSzPct val="150000"/>
              <a:buFont typeface="Arial" pitchFamily="34" charset="0"/>
              <a:buChar char="◦"/>
              <a:defRPr sz="120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19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60650" y="1700808"/>
            <a:ext cx="4059322" cy="223365"/>
          </a:xfrm>
        </p:spPr>
        <p:txBody>
          <a:bodyPr/>
          <a:lstStyle>
            <a:lvl1pPr marL="228600" indent="-228600">
              <a:buNone/>
              <a:defRPr sz="12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Header of Box Below (Arial 12pt, Bold)</a:t>
            </a:r>
            <a:endParaRPr lang="en-CA" dirty="0"/>
          </a:p>
        </p:txBody>
      </p:sp>
      <p:sp>
        <p:nvSpPr>
          <p:cNvPr id="21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60651" y="2022215"/>
            <a:ext cx="4059320" cy="3273685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24" name="Text Placeholder 41"/>
          <p:cNvSpPr>
            <a:spLocks noGrp="1"/>
          </p:cNvSpPr>
          <p:nvPr>
            <p:ph type="body" sz="quarter" idx="21" hasCustomPrompt="1"/>
          </p:nvPr>
        </p:nvSpPr>
        <p:spPr>
          <a:xfrm>
            <a:off x="4824029" y="5305425"/>
            <a:ext cx="3996443" cy="314325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Tx/>
              <a:buNone/>
              <a:defRPr sz="1200" baseline="0"/>
            </a:lvl1pPr>
            <a:lvl2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Tx/>
              <a:buNone/>
              <a:defRPr sz="1200"/>
            </a:lvl2pPr>
            <a:lvl3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Tx/>
              <a:buNone/>
              <a:defRPr sz="1200"/>
            </a:lvl3pPr>
            <a:lvl4pPr marL="0" indent="0">
              <a:lnSpc>
                <a:spcPts val="1350"/>
              </a:lnSpc>
              <a:spcBef>
                <a:spcPts val="500"/>
              </a:spcBef>
              <a:buSzPct val="100000"/>
              <a:buFontTx/>
              <a:buNone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Above Image/Chart Caption (Arial, 12pt)</a:t>
            </a:r>
          </a:p>
        </p:txBody>
      </p:sp>
      <p:sp>
        <p:nvSpPr>
          <p:cNvPr id="35" name="Text Placeholder 53"/>
          <p:cNvSpPr>
            <a:spLocks noGrp="1"/>
          </p:cNvSpPr>
          <p:nvPr>
            <p:ph type="body" sz="quarter" idx="24" hasCustomPrompt="1"/>
          </p:nvPr>
        </p:nvSpPr>
        <p:spPr>
          <a:xfrm>
            <a:off x="4824029" y="1700808"/>
            <a:ext cx="3996443" cy="223365"/>
          </a:xfrm>
        </p:spPr>
        <p:txBody>
          <a:bodyPr/>
          <a:lstStyle>
            <a:lvl1pPr marL="228600" indent="-228600">
              <a:buNone/>
              <a:defRPr sz="12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Header of Box Below (Arial 12pt, Bold)</a:t>
            </a:r>
            <a:endParaRPr lang="en-CA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558062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17" name="Rectangle 16"/>
            <p:cNvSpPr/>
            <p:nvPr userDrawn="1"/>
          </p:nvSpPr>
          <p:spPr>
            <a:xfrm>
              <a:off x="0" y="0"/>
              <a:ext cx="583214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18" name="Rectangle 17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20" name="Rectangle 19"/>
            <p:cNvSpPr/>
            <p:nvPr userDrawn="1"/>
          </p:nvSpPr>
          <p:spPr>
            <a:xfrm rot="5400000">
              <a:off x="6147048" y="3861048"/>
              <a:ext cx="5733256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b="1" dirty="0"/>
            </a:p>
          </p:txBody>
        </p:sp>
        <p:sp>
          <p:nvSpPr>
            <p:cNvPr id="23" name="Rectangle 22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</p:grpSp>
      <p:sp>
        <p:nvSpPr>
          <p:cNvPr id="25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5940425" y="116632"/>
            <a:ext cx="3060067" cy="864741"/>
          </a:xfrm>
          <a:solidFill>
            <a:schemeClr val="accent1"/>
          </a:solidFill>
        </p:spPr>
        <p:txBody>
          <a:bodyPr/>
          <a:lstStyle>
            <a:lvl1pPr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en-CA" dirty="0" smtClean="0"/>
          </a:p>
          <a:p>
            <a:pPr lvl="0"/>
            <a:r>
              <a:rPr lang="en-CA" dirty="0" smtClean="0"/>
              <a:t>Replace with Thought Model</a:t>
            </a:r>
          </a:p>
          <a:p>
            <a:pPr lvl="0"/>
            <a:r>
              <a:rPr lang="en-CA" dirty="0" smtClean="0"/>
              <a:t>(must fit within this boxed area)</a:t>
            </a:r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py &amp; Image / Image Equal Vendor Landscap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Content Placeholder 25"/>
          <p:cNvSpPr>
            <a:spLocks noGrp="1"/>
          </p:cNvSpPr>
          <p:nvPr>
            <p:ph sz="quarter" idx="20" hasCustomPrompt="1"/>
          </p:nvPr>
        </p:nvSpPr>
        <p:spPr>
          <a:xfrm>
            <a:off x="4824029" y="1889980"/>
            <a:ext cx="3996443" cy="2489821"/>
          </a:xfrm>
        </p:spPr>
        <p:txBody>
          <a:bodyPr/>
          <a:lstStyle>
            <a:lvl1pPr marL="18097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Wingdings" pitchFamily="2" charset="2"/>
              <a:buChar char="§"/>
              <a:defRPr sz="1200" baseline="0"/>
            </a:lvl4pPr>
            <a:lvl5pPr marL="1619250" indent="-180975">
              <a:buSzPct val="150000"/>
              <a:buFont typeface="Arial" pitchFamily="34" charset="0"/>
              <a:buChar char="◦"/>
              <a:defRPr sz="120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21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60651" y="1892896"/>
            <a:ext cx="4059320" cy="1514797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24" name="Text Placeholder 41"/>
          <p:cNvSpPr>
            <a:spLocks noGrp="1"/>
          </p:cNvSpPr>
          <p:nvPr>
            <p:ph type="body" sz="quarter" idx="21" hasCustomPrompt="1"/>
          </p:nvPr>
        </p:nvSpPr>
        <p:spPr>
          <a:xfrm>
            <a:off x="4824029" y="4379801"/>
            <a:ext cx="3996443" cy="314325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Tx/>
              <a:buNone/>
              <a:defRPr sz="1200" baseline="0"/>
            </a:lvl1pPr>
            <a:lvl2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Tx/>
              <a:buNone/>
              <a:defRPr sz="1200"/>
            </a:lvl2pPr>
            <a:lvl3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Tx/>
              <a:buNone/>
              <a:defRPr sz="1200"/>
            </a:lvl3pPr>
            <a:lvl4pPr marL="0" indent="0">
              <a:lnSpc>
                <a:spcPts val="1350"/>
              </a:lnSpc>
              <a:spcBef>
                <a:spcPts val="500"/>
              </a:spcBef>
              <a:buSzPct val="100000"/>
              <a:buFontTx/>
              <a:buNone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Above Image/Chart Caption (Arial, 12pt)</a:t>
            </a:r>
          </a:p>
        </p:txBody>
      </p:sp>
      <p:sp>
        <p:nvSpPr>
          <p:cNvPr id="15" name="Content Placeholder 25"/>
          <p:cNvSpPr>
            <a:spLocks noGrp="1"/>
          </p:cNvSpPr>
          <p:nvPr>
            <p:ph sz="quarter" idx="23" hasCustomPrompt="1"/>
          </p:nvPr>
        </p:nvSpPr>
        <p:spPr>
          <a:xfrm>
            <a:off x="260650" y="3587713"/>
            <a:ext cx="4059321" cy="1094047"/>
          </a:xfrm>
        </p:spPr>
        <p:txBody>
          <a:bodyPr/>
          <a:lstStyle>
            <a:lvl1pPr marL="18097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2pPr>
            <a:lvl3pPr marL="54292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Wingdings" pitchFamily="2" charset="2"/>
              <a:buChar char="§"/>
              <a:defRPr sz="1200" baseline="0"/>
            </a:lvl4pPr>
            <a:lvl5pPr marL="1619250" indent="-180975">
              <a:buSzPct val="150000"/>
              <a:buFont typeface="Arial" pitchFamily="34" charset="0"/>
              <a:buChar char="◦"/>
              <a:defRPr sz="1200"/>
            </a:lvl5pPr>
          </a:lstStyle>
          <a:p>
            <a:pPr lvl="0"/>
            <a:r>
              <a:rPr lang="en-US" dirty="0" smtClean="0"/>
              <a:t>First Level (Arial, 12pt)</a:t>
            </a:r>
          </a:p>
        </p:txBody>
      </p:sp>
      <p:sp>
        <p:nvSpPr>
          <p:cNvPr id="17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232756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558062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19" name="Rectangle 18"/>
            <p:cNvSpPr/>
            <p:nvPr userDrawn="1"/>
          </p:nvSpPr>
          <p:spPr>
            <a:xfrm>
              <a:off x="0" y="0"/>
              <a:ext cx="583214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20" name="Rectangle 19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23" name="Rectangle 22"/>
            <p:cNvSpPr/>
            <p:nvPr userDrawn="1"/>
          </p:nvSpPr>
          <p:spPr>
            <a:xfrm rot="5400000">
              <a:off x="6147048" y="3861048"/>
              <a:ext cx="5733256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b="1" dirty="0"/>
            </a:p>
          </p:txBody>
        </p:sp>
        <p:sp>
          <p:nvSpPr>
            <p:cNvPr id="25" name="Rectangle 24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</p:grpSp>
      <p:sp>
        <p:nvSpPr>
          <p:cNvPr id="28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5940425" y="116632"/>
            <a:ext cx="3060067" cy="864741"/>
          </a:xfrm>
          <a:solidFill>
            <a:schemeClr val="accent1"/>
          </a:solidFill>
        </p:spPr>
        <p:txBody>
          <a:bodyPr/>
          <a:lstStyle>
            <a:lvl1pPr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en-CA" dirty="0" smtClean="0"/>
          </a:p>
          <a:p>
            <a:pPr lvl="0"/>
            <a:r>
              <a:rPr lang="en-CA" dirty="0" smtClean="0"/>
              <a:t>Replace with Thought Model</a:t>
            </a:r>
          </a:p>
          <a:p>
            <a:pPr lvl="0"/>
            <a:r>
              <a:rPr lang="en-CA" dirty="0" smtClean="0"/>
              <a:t>(must fit within this boxed area)</a:t>
            </a:r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/Image Eq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Content Placeholder 25"/>
          <p:cNvSpPr>
            <a:spLocks noGrp="1"/>
          </p:cNvSpPr>
          <p:nvPr>
            <p:ph sz="quarter" idx="20" hasCustomPrompt="1"/>
          </p:nvPr>
        </p:nvSpPr>
        <p:spPr>
          <a:xfrm>
            <a:off x="4824029" y="2019299"/>
            <a:ext cx="3996443" cy="3286125"/>
          </a:xfrm>
        </p:spPr>
        <p:txBody>
          <a:bodyPr/>
          <a:lstStyle>
            <a:lvl1pPr marL="18097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Wingdings" pitchFamily="2" charset="2"/>
              <a:buChar char="§"/>
              <a:defRPr sz="1200" baseline="0"/>
            </a:lvl4pPr>
            <a:lvl5pPr marL="1619250" indent="-180975">
              <a:buSzPct val="150000"/>
              <a:buFont typeface="Arial" pitchFamily="34" charset="0"/>
              <a:buChar char="◦"/>
              <a:defRPr sz="120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18" name="Content Placeholder 25"/>
          <p:cNvSpPr>
            <a:spLocks noGrp="1"/>
          </p:cNvSpPr>
          <p:nvPr>
            <p:ph sz="quarter" idx="23" hasCustomPrompt="1"/>
          </p:nvPr>
        </p:nvSpPr>
        <p:spPr>
          <a:xfrm>
            <a:off x="260650" y="2019300"/>
            <a:ext cx="4059321" cy="3286125"/>
          </a:xfrm>
        </p:spPr>
        <p:txBody>
          <a:bodyPr/>
          <a:lstStyle>
            <a:lvl1pPr marL="18097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Wingdings" pitchFamily="2" charset="2"/>
              <a:buChar char="§"/>
              <a:defRPr sz="1200" baseline="0"/>
            </a:lvl4pPr>
            <a:lvl5pPr marL="1619250" indent="-180975">
              <a:buSzPct val="150000"/>
              <a:buFont typeface="Arial" pitchFamily="34" charset="0"/>
              <a:buChar char="◦"/>
              <a:defRPr sz="120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19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60650" y="1700808"/>
            <a:ext cx="4059322" cy="223365"/>
          </a:xfrm>
        </p:spPr>
        <p:txBody>
          <a:bodyPr/>
          <a:lstStyle>
            <a:lvl1pPr marL="228600" indent="-228600">
              <a:buNone/>
              <a:defRPr sz="12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Header of Box Below (Arial 12pt, Bold)</a:t>
            </a:r>
            <a:endParaRPr lang="en-CA" dirty="0"/>
          </a:p>
        </p:txBody>
      </p:sp>
      <p:sp>
        <p:nvSpPr>
          <p:cNvPr id="20" name="Text Placeholder 53"/>
          <p:cNvSpPr>
            <a:spLocks noGrp="1"/>
          </p:cNvSpPr>
          <p:nvPr>
            <p:ph type="body" sz="quarter" idx="24" hasCustomPrompt="1"/>
          </p:nvPr>
        </p:nvSpPr>
        <p:spPr>
          <a:xfrm>
            <a:off x="4824029" y="1700808"/>
            <a:ext cx="3996443" cy="223365"/>
          </a:xfrm>
        </p:spPr>
        <p:txBody>
          <a:bodyPr/>
          <a:lstStyle>
            <a:lvl1pPr marL="228600" indent="-228600">
              <a:buNone/>
              <a:defRPr sz="12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Header of Box Below (Arial 12pt, Bold)</a:t>
            </a:r>
            <a:endParaRPr lang="en-CA" dirty="0"/>
          </a:p>
        </p:txBody>
      </p:sp>
      <p:sp>
        <p:nvSpPr>
          <p:cNvPr id="25" name="Text Placeholder 41"/>
          <p:cNvSpPr>
            <a:spLocks noGrp="1"/>
          </p:cNvSpPr>
          <p:nvPr>
            <p:ph type="body" sz="quarter" idx="18" hasCustomPrompt="1"/>
          </p:nvPr>
        </p:nvSpPr>
        <p:spPr>
          <a:xfrm>
            <a:off x="260650" y="5387083"/>
            <a:ext cx="4059321" cy="634206"/>
          </a:xfrm>
        </p:spPr>
        <p:txBody>
          <a:bodyPr/>
          <a:lstStyle>
            <a:lvl1pPr marL="0" marR="0" indent="0" algn="l" defTabSz="895350" rtl="0" eaLnBrk="0" fontAlgn="base" latinLnBrk="0" hangingPunct="0">
              <a:lnSpc>
                <a:spcPct val="10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20000"/>
              <a:buFontTx/>
              <a:buNone/>
              <a:tabLst/>
              <a:defRPr sz="1200" b="0" baseline="0">
                <a:solidFill>
                  <a:schemeClr val="tx1"/>
                </a:solidFill>
              </a:defRPr>
            </a:lvl1pPr>
            <a:lvl2pPr marL="0" indent="0" defTabSz="895350">
              <a:lnSpc>
                <a:spcPts val="1350"/>
              </a:lnSpc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2pPr>
            <a:lvl3pPr marL="0" indent="0" defTabSz="895350">
              <a:lnSpc>
                <a:spcPts val="1350"/>
              </a:lnSpc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3pPr>
            <a:lvl4pPr marL="1614488" indent="-174625">
              <a:lnSpc>
                <a:spcPts val="1350"/>
              </a:lnSpc>
              <a:defRPr sz="1200">
                <a:solidFill>
                  <a:schemeClr val="accent5"/>
                </a:solidFill>
              </a:defRPr>
            </a:lvl4pPr>
            <a:lvl5pPr marL="2062163" indent="-174625">
              <a:lnSpc>
                <a:spcPts val="1350"/>
              </a:lnSpc>
              <a:tabLst/>
              <a:defRPr sz="120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 smtClean="0"/>
              <a:t>Copy (Arial, 12pt)</a:t>
            </a:r>
          </a:p>
          <a:p>
            <a:pPr lvl="0"/>
            <a:endParaRPr lang="en-US" dirty="0" smtClean="0"/>
          </a:p>
        </p:txBody>
      </p:sp>
      <p:sp>
        <p:nvSpPr>
          <p:cNvPr id="28" name="Text Placeholder 41"/>
          <p:cNvSpPr>
            <a:spLocks noGrp="1"/>
          </p:cNvSpPr>
          <p:nvPr>
            <p:ph type="body" sz="quarter" idx="25" hasCustomPrompt="1"/>
          </p:nvPr>
        </p:nvSpPr>
        <p:spPr>
          <a:xfrm>
            <a:off x="4824029" y="5387083"/>
            <a:ext cx="3996443" cy="634206"/>
          </a:xfrm>
        </p:spPr>
        <p:txBody>
          <a:bodyPr/>
          <a:lstStyle>
            <a:lvl1pPr marL="0" marR="0" indent="0" algn="l" defTabSz="895350" rtl="0" eaLnBrk="0" fontAlgn="base" latinLnBrk="0" hangingPunct="0">
              <a:lnSpc>
                <a:spcPct val="10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20000"/>
              <a:buFontTx/>
              <a:buNone/>
              <a:tabLst/>
              <a:defRPr sz="1200" b="0" baseline="0">
                <a:solidFill>
                  <a:schemeClr val="tx1"/>
                </a:solidFill>
              </a:defRPr>
            </a:lvl1pPr>
            <a:lvl2pPr marL="0" indent="0" defTabSz="895350">
              <a:lnSpc>
                <a:spcPts val="1350"/>
              </a:lnSpc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2pPr>
            <a:lvl3pPr marL="0" indent="0" defTabSz="895350">
              <a:lnSpc>
                <a:spcPts val="1350"/>
              </a:lnSpc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3pPr>
            <a:lvl4pPr marL="1614488" indent="-174625">
              <a:lnSpc>
                <a:spcPts val="1350"/>
              </a:lnSpc>
              <a:defRPr sz="1200">
                <a:solidFill>
                  <a:schemeClr val="accent5"/>
                </a:solidFill>
              </a:defRPr>
            </a:lvl4pPr>
            <a:lvl5pPr marL="2062163" indent="-174625">
              <a:lnSpc>
                <a:spcPts val="1350"/>
              </a:lnSpc>
              <a:tabLst/>
              <a:defRPr sz="120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 smtClean="0"/>
              <a:t>Copy (Arial, 12pt)</a:t>
            </a:r>
          </a:p>
          <a:p>
            <a:pPr lvl="0"/>
            <a:endParaRPr lang="en-US" dirty="0" smtClean="0"/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558062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grpSp>
        <p:nvGrpSpPr>
          <p:cNvPr id="17" name="Group 16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21" name="Rectangle 20"/>
            <p:cNvSpPr/>
            <p:nvPr userDrawn="1"/>
          </p:nvSpPr>
          <p:spPr>
            <a:xfrm>
              <a:off x="0" y="0"/>
              <a:ext cx="583214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22" name="Rectangle 21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24" name="Rectangle 23"/>
            <p:cNvSpPr/>
            <p:nvPr userDrawn="1"/>
          </p:nvSpPr>
          <p:spPr>
            <a:xfrm rot="5400000">
              <a:off x="6147048" y="3861048"/>
              <a:ext cx="5733256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b="1" dirty="0"/>
            </a:p>
          </p:txBody>
        </p:sp>
        <p:sp>
          <p:nvSpPr>
            <p:cNvPr id="27" name="Rectangle 26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</p:grpSp>
      <p:sp>
        <p:nvSpPr>
          <p:cNvPr id="29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5940425" y="116632"/>
            <a:ext cx="3060067" cy="864741"/>
          </a:xfrm>
          <a:solidFill>
            <a:schemeClr val="accent1"/>
          </a:solidFill>
        </p:spPr>
        <p:txBody>
          <a:bodyPr/>
          <a:lstStyle>
            <a:lvl1pPr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en-CA" dirty="0" smtClean="0"/>
          </a:p>
          <a:p>
            <a:pPr lvl="0"/>
            <a:r>
              <a:rPr lang="en-CA" dirty="0" smtClean="0"/>
              <a:t>Replace with Thought Model</a:t>
            </a:r>
          </a:p>
          <a:p>
            <a:pPr lvl="0"/>
            <a:r>
              <a:rPr lang="en-CA" dirty="0" smtClean="0"/>
              <a:t>(must fit within this boxed area)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232756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25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3" y="2507593"/>
            <a:ext cx="4034665" cy="2376264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Wingdings" pitchFamily="2" charset="2"/>
              <a:buChar char="ü"/>
              <a:defRPr sz="14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4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4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Arial" pitchFamily="34" charset="0"/>
              <a:buChar char="–"/>
              <a:defRPr sz="14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4pt)</a:t>
            </a:r>
          </a:p>
          <a:p>
            <a:pPr lvl="1"/>
            <a:r>
              <a:rPr lang="en-US" dirty="0" smtClean="0"/>
              <a:t>Second Level (Arial, 14pt)</a:t>
            </a:r>
          </a:p>
          <a:p>
            <a:pPr lvl="2"/>
            <a:r>
              <a:rPr lang="en-US" dirty="0" smtClean="0"/>
              <a:t>Third Level (Arial, 14pt)</a:t>
            </a:r>
          </a:p>
          <a:p>
            <a:pPr lvl="3"/>
            <a:r>
              <a:rPr lang="en-US" dirty="0" smtClean="0"/>
              <a:t>Forth Level (Arial, 14pt)</a:t>
            </a:r>
          </a:p>
        </p:txBody>
      </p:sp>
      <p:sp>
        <p:nvSpPr>
          <p:cNvPr id="26" name="Text Placeholder 41"/>
          <p:cNvSpPr>
            <a:spLocks noGrp="1"/>
          </p:cNvSpPr>
          <p:nvPr>
            <p:ph type="body" sz="quarter" idx="23" hasCustomPrompt="1"/>
          </p:nvPr>
        </p:nvSpPr>
        <p:spPr>
          <a:xfrm>
            <a:off x="4860032" y="2507593"/>
            <a:ext cx="4032448" cy="2376264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Wingdings" pitchFamily="2" charset="2"/>
              <a:buChar char="ü"/>
              <a:defRPr sz="14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4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4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Arial" pitchFamily="34" charset="0"/>
              <a:buChar char="–"/>
              <a:defRPr sz="14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4pt)</a:t>
            </a:r>
          </a:p>
          <a:p>
            <a:pPr lvl="1"/>
            <a:r>
              <a:rPr lang="en-US" dirty="0" smtClean="0"/>
              <a:t>Second Level (Arial, 14pt)</a:t>
            </a:r>
          </a:p>
          <a:p>
            <a:pPr lvl="2"/>
            <a:r>
              <a:rPr lang="en-US" dirty="0" smtClean="0"/>
              <a:t>Third Level (Arial, 14pt)</a:t>
            </a:r>
          </a:p>
          <a:p>
            <a:pPr lvl="3"/>
            <a:r>
              <a:rPr lang="en-US" dirty="0" smtClean="0"/>
              <a:t>Forth Level (Arial, 14pt)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/ Subhead / Body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232756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55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2" y="1892896"/>
            <a:ext cx="8627997" cy="4313785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159732" y="1362075"/>
            <a:ext cx="6717568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ase Study (Georgia, 24pt) </a:t>
            </a:r>
            <a:endParaRPr lang="en-CA" dirty="0"/>
          </a:p>
        </p:txBody>
      </p:sp>
      <p:pic>
        <p:nvPicPr>
          <p:cNvPr id="13" name="Picture 12" descr="case_study.wmf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464339" y="1376772"/>
            <a:ext cx="1410568" cy="1548443"/>
          </a:xfrm>
          <a:prstGeom prst="rect">
            <a:avLst/>
          </a:prstGeom>
        </p:spPr>
      </p:pic>
      <p:grpSp>
        <p:nvGrpSpPr>
          <p:cNvPr id="14" name="Group 13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15" name="Rectangle 14"/>
            <p:cNvSpPr/>
            <p:nvPr userDrawn="1"/>
          </p:nvSpPr>
          <p:spPr>
            <a:xfrm>
              <a:off x="0" y="0"/>
              <a:ext cx="9144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16" name="Rectangle 15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17" name="Rectangle 16"/>
            <p:cNvSpPr/>
            <p:nvPr userDrawn="1"/>
          </p:nvSpPr>
          <p:spPr>
            <a:xfrm rot="5400000">
              <a:off x="5584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b="1" dirty="0"/>
            </a:p>
          </p:txBody>
        </p:sp>
        <p:sp>
          <p:nvSpPr>
            <p:cNvPr id="18" name="Rectangle 17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/ Body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55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2" y="1232756"/>
            <a:ext cx="8627997" cy="4973925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/Right Blank &amp;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</a:t>
            </a:r>
            <a:endParaRPr lang="en-CA" dirty="0"/>
          </a:p>
        </p:txBody>
      </p:sp>
      <p:sp>
        <p:nvSpPr>
          <p:cNvPr id="21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232756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</a:t>
            </a:r>
            <a:endParaRPr lang="en-CA" dirty="0"/>
          </a:p>
        </p:txBody>
      </p:sp>
      <p:sp>
        <p:nvSpPr>
          <p:cNvPr id="21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232756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  <p:sp>
        <p:nvSpPr>
          <p:cNvPr id="13" name="Content Placeholder 25"/>
          <p:cNvSpPr>
            <a:spLocks noGrp="1"/>
          </p:cNvSpPr>
          <p:nvPr>
            <p:ph sz="quarter" idx="20" hasCustomPrompt="1"/>
          </p:nvPr>
        </p:nvSpPr>
        <p:spPr>
          <a:xfrm>
            <a:off x="5581649" y="1880828"/>
            <a:ext cx="3238823" cy="3029881"/>
          </a:xfrm>
        </p:spPr>
        <p:txBody>
          <a:bodyPr/>
          <a:lstStyle>
            <a:lvl1pPr marL="180975" indent="-180975"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2pPr>
            <a:lvl3pPr marL="542925" indent="-180975"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buClr>
                <a:schemeClr val="tx1"/>
              </a:buClr>
              <a:buSzPct val="100000"/>
              <a:buFont typeface="Wingdings" pitchFamily="2" charset="2"/>
              <a:buChar char="§"/>
              <a:defRPr sz="1200" baseline="0"/>
            </a:lvl4pPr>
            <a:lvl5pPr marL="1619250" indent="-180975">
              <a:buSzPct val="150000"/>
              <a:buFont typeface="Arial" pitchFamily="34" charset="0"/>
              <a:buChar char="◦"/>
              <a:defRPr sz="120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14" name="Text Placeholder 41"/>
          <p:cNvSpPr>
            <a:spLocks noGrp="1"/>
          </p:cNvSpPr>
          <p:nvPr>
            <p:ph type="body" sz="quarter" idx="21" hasCustomPrompt="1"/>
          </p:nvPr>
        </p:nvSpPr>
        <p:spPr>
          <a:xfrm>
            <a:off x="5581649" y="4910709"/>
            <a:ext cx="3238823" cy="314325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Tx/>
              <a:buNone/>
              <a:defRPr sz="1200" baseline="0"/>
            </a:lvl1pPr>
            <a:lvl2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Tx/>
              <a:buNone/>
              <a:defRPr sz="1200"/>
            </a:lvl2pPr>
            <a:lvl3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Tx/>
              <a:buNone/>
              <a:defRPr sz="1200"/>
            </a:lvl3pPr>
            <a:lvl4pPr marL="0" indent="0">
              <a:lnSpc>
                <a:spcPts val="1350"/>
              </a:lnSpc>
              <a:spcBef>
                <a:spcPts val="500"/>
              </a:spcBef>
              <a:buSzPct val="100000"/>
              <a:buFontTx/>
              <a:buNone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Above Image/Chart Caption (Arial, 12pt)</a:t>
            </a:r>
          </a:p>
        </p:txBody>
      </p:sp>
      <p:grpSp>
        <p:nvGrpSpPr>
          <p:cNvPr id="22" name="Group 21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23" name="Rectangle 22"/>
            <p:cNvSpPr/>
            <p:nvPr userDrawn="1"/>
          </p:nvSpPr>
          <p:spPr>
            <a:xfrm>
              <a:off x="0" y="0"/>
              <a:ext cx="9144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24" name="Rectangle 23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  <p:sp>
          <p:nvSpPr>
            <p:cNvPr id="25" name="Rectangle 24"/>
            <p:cNvSpPr/>
            <p:nvPr userDrawn="1"/>
          </p:nvSpPr>
          <p:spPr>
            <a:xfrm rot="5400000">
              <a:off x="5584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b="1" dirty="0"/>
            </a:p>
          </p:txBody>
        </p:sp>
        <p:sp>
          <p:nvSpPr>
            <p:cNvPr id="26" name="Rectangle 25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/>
            </a:p>
          </p:txBody>
        </p:sp>
      </p:grp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257174" y="255588"/>
            <a:ext cx="8620125" cy="877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 (Georgia, 24pt)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57174" y="1600200"/>
            <a:ext cx="8620125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Fir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6525344"/>
            <a:ext cx="8388424" cy="3380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66700" indent="0" algn="r"/>
            <a:r>
              <a:rPr lang="en-CA" sz="1000" dirty="0" smtClean="0"/>
              <a:t>Info-Tech</a:t>
            </a:r>
            <a:r>
              <a:rPr lang="en-CA" sz="1000" baseline="0" dirty="0" smtClean="0"/>
              <a:t> Research Group</a:t>
            </a:r>
            <a:endParaRPr lang="en-CA" sz="1000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8388424" y="6525344"/>
            <a:ext cx="755576" cy="3380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9388" indent="0" algn="l"/>
            <a:fld id="{FF20F8B6-5AB9-41C4-A82C-4155E8A92B2C}" type="slidenum">
              <a:rPr lang="en-CA" sz="1000" smtClean="0"/>
              <a:pPr marL="179388" indent="0" algn="l"/>
              <a:t>‹#›</a:t>
            </a:fld>
            <a:endParaRPr lang="en-CA" sz="1000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8" r:id="rId3"/>
    <p:sldLayoutId id="2147483695" r:id="rId4"/>
    <p:sldLayoutId id="2147483699" r:id="rId5"/>
    <p:sldLayoutId id="2147483698" r:id="rId6"/>
    <p:sldLayoutId id="2147483682" r:id="rId7"/>
    <p:sldLayoutId id="2147483680" r:id="rId8"/>
    <p:sldLayoutId id="2147483696" r:id="rId9"/>
    <p:sldLayoutId id="2147483677" r:id="rId10"/>
    <p:sldLayoutId id="2147483667" r:id="rId11"/>
    <p:sldLayoutId id="2147483684" r:id="rId12"/>
    <p:sldLayoutId id="2147483700" r:id="rId13"/>
    <p:sldLayoutId id="2147483683" r:id="rId14"/>
    <p:sldLayoutId id="2147483714" r:id="rId15"/>
    <p:sldLayoutId id="2147483694" r:id="rId16"/>
    <p:sldLayoutId id="2147483702" r:id="rId17"/>
    <p:sldLayoutId id="2147483704" r:id="rId18"/>
    <p:sldLayoutId id="2147483705" r:id="rId19"/>
    <p:sldLayoutId id="2147483706" r:id="rId20"/>
    <p:sldLayoutId id="2147483707" r:id="rId21"/>
    <p:sldLayoutId id="2147483708" r:id="rId22"/>
    <p:sldLayoutId id="2147483709" r:id="rId23"/>
    <p:sldLayoutId id="2147483710" r:id="rId24"/>
    <p:sldLayoutId id="2147483711" r:id="rId25"/>
    <p:sldLayoutId id="2147483712" r:id="rId26"/>
    <p:sldLayoutId id="2147483713" r:id="rId27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kern="1200" baseline="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180975" indent="-180975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SzPct val="120000"/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0975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SzPct val="150000"/>
        <a:buFont typeface="Arial" pitchFamily="34" charset="0"/>
        <a:buChar char="◦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42925" indent="-180975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14375" indent="-17145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://www.infotech.com/research/storyboard-develop-a-business-intelligence-tool-strategy?utm_source=SS_Sample&amp;utm_medium=Collateral&amp;utm_campaign=Collateral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4.png"/><Relationship Id="rId4" Type="http://schemas.openxmlformats.org/officeDocument/2006/relationships/image" Target="../media/image3.gi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://www.infotech.com/research/storyboard-develop-a-business-intelligence-tool-strategy?utm_source=SS_Sample&amp;utm_medium=Collateral&amp;utm_campaign=Collateral" TargetMode="External"/><Relationship Id="rId2" Type="http://schemas.openxmlformats.org/officeDocument/2006/relationships/image" Target="../media/image8.wmf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peg"/><Relationship Id="rId13" Type="http://schemas.openxmlformats.org/officeDocument/2006/relationships/image" Target="../media/image5.png"/><Relationship Id="rId3" Type="http://schemas.openxmlformats.org/officeDocument/2006/relationships/image" Target="../media/image16.jpeg"/><Relationship Id="rId7" Type="http://schemas.openxmlformats.org/officeDocument/2006/relationships/image" Target="../media/image20.png"/><Relationship Id="rId12" Type="http://schemas.openxmlformats.org/officeDocument/2006/relationships/hyperlink" Target="http://www.infotech.com/research/storyboard-develop-a-business-intelligence-tool-strategy?utm_source=SS_Sample&amp;utm_medium=Collateral&amp;utm_campaign=Collateral" TargetMode="External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9.png"/><Relationship Id="rId11" Type="http://schemas.openxmlformats.org/officeDocument/2006/relationships/image" Target="../media/image24.png"/><Relationship Id="rId5" Type="http://schemas.openxmlformats.org/officeDocument/2006/relationships/image" Target="../media/image18.jpeg"/><Relationship Id="rId10" Type="http://schemas.openxmlformats.org/officeDocument/2006/relationships/image" Target="../media/image23.png"/><Relationship Id="rId4" Type="http://schemas.openxmlformats.org/officeDocument/2006/relationships/image" Target="../media/image17.jpeg"/><Relationship Id="rId9" Type="http://schemas.openxmlformats.org/officeDocument/2006/relationships/image" Target="../media/image22.png"/><Relationship Id="rId14" Type="http://schemas.openxmlformats.org/officeDocument/2006/relationships/image" Target="../media/image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://www.infotech.com/research/storyboard-develop-a-business-intelligence-tool-strategy?utm_source=SS_Sample&amp;utm_medium=Collateral&amp;utm_campaign=Collateral" TargetMode="External"/><Relationship Id="rId7" Type="http://schemas.openxmlformats.org/officeDocument/2006/relationships/image" Target="../media/image6.png"/><Relationship Id="rId2" Type="http://schemas.openxmlformats.org/officeDocument/2006/relationships/hyperlink" Target="http://www.infotech.com/" TargetMode="Externa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5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://www.infotech.com/research/storyboard-develop-a-business-intelligence-tool-strategy?utm_source=SS_Sample&amp;utm_medium=Collateral&amp;utm_campaign=Collateral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://www.infotech.com/research/storyboard-develop-a-business-intelligence-tool-strategy?utm_source=SS_Sample&amp;utm_medium=Collateral&amp;utm_campaign=Collateral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7.emf"/><Relationship Id="rId18" Type="http://schemas.openxmlformats.org/officeDocument/2006/relationships/image" Target="../media/image5.pn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oleObject" Target="../embeddings/oleObject1.bin"/><Relationship Id="rId17" Type="http://schemas.openxmlformats.org/officeDocument/2006/relationships/hyperlink" Target="http://www.infotech.com/research/storyboard-develop-a-business-intelligence-tool-strategy?utm_source=SS_Sample&amp;utm_medium=Collateral&amp;utm_campaign=Collateral" TargetMode="External"/><Relationship Id="rId2" Type="http://schemas.openxmlformats.org/officeDocument/2006/relationships/tags" Target="../tags/tag2.xml"/><Relationship Id="rId16" Type="http://schemas.openxmlformats.org/officeDocument/2006/relationships/hyperlink" Target="http://www.infotech.com/research/ss/create-an-effective-bi-project-plan-and-strategy-" TargetMode="External"/><Relationship Id="rId1" Type="http://schemas.openxmlformats.org/officeDocument/2006/relationships/vmlDrawing" Target="../drawings/vmlDrawing1.vml"/><Relationship Id="rId6" Type="http://schemas.openxmlformats.org/officeDocument/2006/relationships/tags" Target="../tags/tag6.xml"/><Relationship Id="rId11" Type="http://schemas.openxmlformats.org/officeDocument/2006/relationships/notesSlide" Target="../notesSlides/notesSlide4.xml"/><Relationship Id="rId5" Type="http://schemas.openxmlformats.org/officeDocument/2006/relationships/tags" Target="../tags/tag5.xml"/><Relationship Id="rId15" Type="http://schemas.openxmlformats.org/officeDocument/2006/relationships/hyperlink" Target="http://www.infotech.com/research/ss/it-data-architecture" TargetMode="External"/><Relationship Id="rId10" Type="http://schemas.openxmlformats.org/officeDocument/2006/relationships/slideLayout" Target="../slideLayouts/slideLayout8.xml"/><Relationship Id="rId19" Type="http://schemas.openxmlformats.org/officeDocument/2006/relationships/image" Target="../media/image6.png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hyperlink" Target="http://www.infotech.com/research/ss/assess-and-optimize-bi-operations" TargetMode="Externa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hyperlink" Target="http://www.infotech.com/research/storyboard-develop-a-business-intelligence-tool-strategy?utm_source=SS_Sample&amp;utm_medium=Collateral&amp;utm_campaign=Collateral" TargetMode="External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10.wmf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0.xml"/><Relationship Id="rId6" Type="http://schemas.openxmlformats.org/officeDocument/2006/relationships/image" Target="../media/image9.wmf"/><Relationship Id="rId5" Type="http://schemas.openxmlformats.org/officeDocument/2006/relationships/hyperlink" Target="http://www.infotech.com/research/ss/create-an-effective-bi-project-plan-and-strategy-" TargetMode="External"/><Relationship Id="rId10" Type="http://schemas.openxmlformats.org/officeDocument/2006/relationships/image" Target="../media/image6.png"/><Relationship Id="rId4" Type="http://schemas.openxmlformats.org/officeDocument/2006/relationships/image" Target="../media/image8.wmf"/><Relationship Id="rId9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image" Target="../media/image11.png"/><Relationship Id="rId7" Type="http://schemas.openxmlformats.org/officeDocument/2006/relationships/hyperlink" Target="http://www.infotech.com/research/storyboard-develop-a-business-intelligence-tool-strategy?utm_source=SS_Sample&amp;utm_medium=Collateral&amp;utm_campaign=Collateral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4.png"/><Relationship Id="rId5" Type="http://schemas.openxmlformats.org/officeDocument/2006/relationships/image" Target="../media/image13.wmf"/><Relationship Id="rId4" Type="http://schemas.openxmlformats.org/officeDocument/2006/relationships/image" Target="../media/image12.png"/><Relationship Id="rId9" Type="http://schemas.openxmlformats.org/officeDocument/2006/relationships/image" Target="../media/image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w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hyperlink" Target="http://www.infotech.com/research/storyboard-develop-a-business-intelligence-tool-strategy?utm_source=SS_Sample&amp;utm_medium=Collateral&amp;utm_campaign=Collateral" TargetMode="Externa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://www.infotech.com/research/storyboard-develop-a-business-intelligence-tool-strategy?utm_source=SS_Sample&amp;utm_medium=Collateral&amp;utm_campaign=Collateral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://www.infotech.com/research/storyboard-develop-a-business-intelligence-tool-strategy?utm_source=SS_Sample&amp;utm_medium=Collateral&amp;utm_campaign=Collateral" TargetMode="Externa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pPr lvl="0"/>
            <a:r>
              <a:rPr lang="en-US" dirty="0" smtClean="0"/>
              <a:t>Develop a Business Intelligence Tool Strategy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CA" dirty="0" smtClean="0"/>
              <a:t>Improve business decision making and minimize cost by selecting only the most important BI capabilities.</a:t>
            </a:r>
            <a:endParaRPr lang="en-CA" dirty="0"/>
          </a:p>
        </p:txBody>
      </p:sp>
      <p:grpSp>
        <p:nvGrpSpPr>
          <p:cNvPr id="4" name="Group 3"/>
          <p:cNvGrpSpPr/>
          <p:nvPr/>
        </p:nvGrpSpPr>
        <p:grpSpPr>
          <a:xfrm>
            <a:off x="0" y="5402461"/>
            <a:ext cx="9144000" cy="1455539"/>
            <a:chOff x="0" y="5402461"/>
            <a:chExt cx="9144000" cy="1455539"/>
          </a:xfrm>
        </p:grpSpPr>
        <p:pic>
          <p:nvPicPr>
            <p:cNvPr id="5" name="Picture 4" descr="sample-titlebar-itrgNEW.gif">
              <a:hlinkClick r:id="rId3"/>
            </p:cNvPr>
            <p:cNvPicPr>
              <a:picLocks noChangeAspect="1"/>
            </p:cNvPicPr>
            <p:nvPr/>
          </p:nvPicPr>
          <p:blipFill>
            <a:blip r:embed="rId4" cstate="print"/>
            <a:srcRect b="40634"/>
            <a:stretch>
              <a:fillRect/>
            </a:stretch>
          </p:blipFill>
          <p:spPr>
            <a:xfrm>
              <a:off x="0" y="5402461"/>
              <a:ext cx="9144000" cy="864096"/>
            </a:xfrm>
            <a:prstGeom prst="rect">
              <a:avLst/>
            </a:prstGeom>
          </p:spPr>
        </p:pic>
        <p:grpSp>
          <p:nvGrpSpPr>
            <p:cNvPr id="6" name="Group 5"/>
            <p:cNvGrpSpPr/>
            <p:nvPr/>
          </p:nvGrpSpPr>
          <p:grpSpPr>
            <a:xfrm>
              <a:off x="0" y="6266557"/>
              <a:ext cx="9144000" cy="591443"/>
              <a:chOff x="0" y="6266557"/>
              <a:chExt cx="9144000" cy="591443"/>
            </a:xfrm>
          </p:grpSpPr>
          <p:sp>
            <p:nvSpPr>
              <p:cNvPr id="9" name="Rectangle 8"/>
              <p:cNvSpPr/>
              <p:nvPr/>
            </p:nvSpPr>
            <p:spPr>
              <a:xfrm>
                <a:off x="0" y="6266557"/>
                <a:ext cx="7308304" cy="591443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174625" algn="r"/>
                <a:r>
                  <a:rPr lang="en-CA" sz="800" dirty="0" smtClean="0">
                    <a:solidFill>
                      <a:schemeClr val="bg1">
                        <a:lumMod val="65000"/>
                      </a:schemeClr>
                    </a:solidFill>
                  </a:rPr>
                  <a:t>Info-Tech's products and services combine actionable insight and relevant advice with ready-to-use tools</a:t>
                </a:r>
                <a:br>
                  <a:rPr lang="en-CA" sz="800" dirty="0" smtClean="0">
                    <a:solidFill>
                      <a:schemeClr val="bg1">
                        <a:lumMod val="65000"/>
                      </a:schemeClr>
                    </a:solidFill>
                  </a:rPr>
                </a:br>
                <a:r>
                  <a:rPr lang="en-CA" sz="800" dirty="0" smtClean="0">
                    <a:solidFill>
                      <a:schemeClr val="bg1">
                        <a:lumMod val="65000"/>
                      </a:schemeClr>
                    </a:solidFill>
                  </a:rPr>
                  <a:t>and templates that cover the full spectrum of IT concerns.© 1997 - 2014 Info-Tech Research Group</a:t>
                </a:r>
                <a:endParaRPr lang="en-CA" sz="800" dirty="0">
                  <a:solidFill>
                    <a:schemeClr val="bg1">
                      <a:lumMod val="65000"/>
                    </a:schemeClr>
                  </a:solidFill>
                </a:endParaRPr>
              </a:p>
            </p:txBody>
          </p:sp>
          <p:sp>
            <p:nvSpPr>
              <p:cNvPr id="10" name="Rectangle 9"/>
              <p:cNvSpPr/>
              <p:nvPr/>
            </p:nvSpPr>
            <p:spPr>
              <a:xfrm>
                <a:off x="7308304" y="6266557"/>
                <a:ext cx="1835696" cy="591443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CA"/>
              </a:p>
            </p:txBody>
          </p:sp>
          <p:pic>
            <p:nvPicPr>
              <p:cNvPr id="11" name="Picture 10" descr="itrg-logo-blue.png"/>
              <p:cNvPicPr>
                <a:picLocks noChangeAspect="1"/>
              </p:cNvPicPr>
              <p:nvPr/>
            </p:nvPicPr>
            <p:blipFill>
              <a:blip r:embed="rId5" cstate="print"/>
              <a:stretch>
                <a:fillRect/>
              </a:stretch>
            </p:blipFill>
            <p:spPr>
              <a:xfrm>
                <a:off x="7529512" y="6360368"/>
                <a:ext cx="1400175" cy="381000"/>
              </a:xfrm>
              <a:prstGeom prst="rect">
                <a:avLst/>
              </a:prstGeom>
            </p:spPr>
          </p:pic>
        </p:grp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 smtClean="0"/>
              <a:t>Improve BI 1.0 capabilities and plan for BI 2.0 capabilities to meet new demand</a:t>
            </a:r>
            <a:endParaRPr lang="en-CA" dirty="0"/>
          </a:p>
        </p:txBody>
      </p:sp>
      <p:graphicFrame>
        <p:nvGraphicFramePr>
          <p:cNvPr id="14" name="Table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4783805"/>
              </p:ext>
            </p:extLst>
          </p:nvPr>
        </p:nvGraphicFramePr>
        <p:xfrm>
          <a:off x="265905" y="1232756"/>
          <a:ext cx="8611394" cy="9144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8611394"/>
              </a:tblGrid>
              <a:tr h="0">
                <a:tc>
                  <a:txBody>
                    <a:bodyPr/>
                    <a:lstStyle/>
                    <a:p>
                      <a:r>
                        <a:rPr lang="en-US" sz="1200" b="1" i="1" dirty="0" smtClean="0">
                          <a:solidFill>
                            <a:schemeClr val="bg1"/>
                          </a:solidFill>
                        </a:rPr>
                        <a:t>Info-Tech Insight</a:t>
                      </a:r>
                      <a:r>
                        <a:rPr lang="en-US" sz="1200" b="1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endParaRPr lang="en-US" sz="12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accent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572F"/>
                    </a:solidFill>
                  </a:tcPr>
                </a:tc>
              </a:tr>
              <a:tr h="469740">
                <a:tc>
                  <a:txBody>
                    <a:bodyPr/>
                    <a:lstStyle/>
                    <a:p>
                      <a:r>
                        <a:rPr lang="en-CA" sz="12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I</a:t>
                      </a:r>
                      <a:r>
                        <a:rPr lang="en-CA" sz="120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2.0 (advanced) capabilities (p</a:t>
                      </a:r>
                      <a:r>
                        <a:rPr lang="en-CA" sz="12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dictive,</a:t>
                      </a:r>
                      <a:r>
                        <a:rPr lang="en-CA" sz="120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CA" sz="12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al-time, social, </a:t>
                      </a:r>
                      <a:r>
                        <a:rPr lang="en-CA" sz="120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nd big data analytics) are being used more than ever. </a:t>
                      </a:r>
                      <a:r>
                        <a:rPr lang="en-CA" sz="120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rganizations are adopting them as they provide significant opportunity to gain a competitive advantage. If the business isn’t demanding these capabilities now, they will soon. </a:t>
                      </a:r>
                      <a:r>
                        <a:rPr lang="en-CA" sz="120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lan for BI 2.0 </a:t>
                      </a:r>
                      <a:r>
                        <a:rPr lang="en-CA" sz="12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pabilities</a:t>
                      </a:r>
                      <a:r>
                        <a:rPr lang="en-CA" sz="120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now</a:t>
                      </a:r>
                      <a:r>
                        <a:rPr lang="en-CA" sz="120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CA" sz="120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efore the organization falls behind.</a:t>
                      </a:r>
                      <a:endParaRPr lang="en-CA" sz="1200" b="1" dirty="0"/>
                    </a:p>
                  </a:txBody>
                  <a:tcPr>
                    <a:lnL w="6350" cap="flat" cmpd="sng" algn="ctr">
                      <a:solidFill>
                        <a:schemeClr val="accent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pic>
        <p:nvPicPr>
          <p:cNvPr id="16" name="Picture 15" descr="insight-sm.wmf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8578108" y="1268760"/>
            <a:ext cx="278368" cy="208776"/>
          </a:xfrm>
          <a:prstGeom prst="rect">
            <a:avLst/>
          </a:prstGeom>
        </p:spPr>
      </p:pic>
      <p:graphicFrame>
        <p:nvGraphicFramePr>
          <p:cNvPr id="17" name="Table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02426570"/>
              </p:ext>
            </p:extLst>
          </p:nvPr>
        </p:nvGraphicFramePr>
        <p:xfrm>
          <a:off x="265906" y="2204864"/>
          <a:ext cx="8611393" cy="4126320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1329753"/>
                <a:gridCol w="455102"/>
                <a:gridCol w="3413269"/>
                <a:gridCol w="3413269"/>
              </a:tblGrid>
              <a:tr h="432000">
                <a:tc row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CA" sz="1200" i="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row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CA" sz="1200" i="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CA" sz="1200" b="1" i="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CA" sz="1200" b="1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lan for these…</a:t>
                      </a:r>
                    </a:p>
                  </a:txBody>
                  <a:tcPr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52000">
                <a:tc vMerge="1">
                  <a:txBody>
                    <a:bodyPr/>
                    <a:lstStyle/>
                    <a:p>
                      <a:endParaRPr lang="en-CA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CA" sz="1200" i="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CA" sz="1200" b="1" i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I 1.0 (Basic Capabilities)</a:t>
                      </a:r>
                      <a:endParaRPr lang="en-CA" sz="1200" b="1" i="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sz="1200" b="1" i="0" dirty="0" smtClean="0">
                          <a:latin typeface="+mn-lt"/>
                        </a:rPr>
                        <a:t>BI 2.0 (Advanced Capabilities)</a:t>
                      </a:r>
                      <a:endParaRPr lang="en-CA" sz="1200" b="1" i="0" dirty="0">
                        <a:latin typeface="+mn-lt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1008000">
                <a:tc rowSpan="4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CA" sz="2500" b="1" i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e</a:t>
                      </a:r>
                      <a:r>
                        <a:rPr lang="en-CA" sz="2500" b="1" i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br>
                        <a:rPr lang="en-CA" sz="2500" b="1" i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CA" sz="2500" b="1" i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I Stack</a:t>
                      </a:r>
                      <a:endParaRPr lang="en-CA" sz="2500" b="1" i="1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CA" sz="1200" b="1" i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ata presentation</a:t>
                      </a:r>
                    </a:p>
                  </a:txBody>
                  <a:tcPr vert="vert27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CA" sz="120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andardized</a:t>
                      </a:r>
                      <a:r>
                        <a:rPr lang="en-CA" sz="1200" i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reports</a:t>
                      </a:r>
                    </a:p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CA" sz="1200" i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ashboards </a:t>
                      </a:r>
                    </a:p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CA" sz="1200" i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corecards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n-CA" sz="120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lerts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n-CA" sz="120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elf-serve BI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en-CA" sz="120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obile</a:t>
                      </a:r>
                      <a:r>
                        <a:rPr lang="en-CA" sz="1200" i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BI</a:t>
                      </a:r>
                      <a:endParaRPr lang="en-CA" sz="1200" i="0" dirty="0">
                        <a:latin typeface="+mn-lt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720000"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CA" sz="1200" b="1" i="1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vert="vert27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CA" sz="1200" b="1" i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ata</a:t>
                      </a:r>
                      <a:r>
                        <a:rPr lang="en-CA" sz="1200" b="1" i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analysis</a:t>
                      </a:r>
                      <a:endParaRPr lang="en-CA" sz="1200" b="1" i="1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vert="vert27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CA" sz="120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LAP cube</a:t>
                      </a:r>
                    </a:p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CA" sz="120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ata</a:t>
                      </a:r>
                      <a:r>
                        <a:rPr lang="en-CA" sz="1200" i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mash-up</a:t>
                      </a:r>
                    </a:p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CA" sz="1200" i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ird-party data</a:t>
                      </a:r>
                      <a:endParaRPr lang="en-CA" sz="1200" i="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CA" sz="120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edictive</a:t>
                      </a:r>
                      <a:r>
                        <a:rPr lang="en-CA" sz="1200" i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analytics</a:t>
                      </a:r>
                    </a:p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CA" sz="1200" i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ocial analytics </a:t>
                      </a:r>
                    </a:p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CA" sz="1200" i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ig data analytics</a:t>
                      </a:r>
                      <a:endParaRPr lang="en-CA" sz="1200" i="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900000"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CA" sz="1200" b="1" i="1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vert="vert27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CA" sz="1200" b="1" i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ata foundation</a:t>
                      </a:r>
                    </a:p>
                  </a:txBody>
                  <a:tcPr vert="vert27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CA" sz="120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ata warehouse</a:t>
                      </a:r>
                    </a:p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CA" sz="120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ata</a:t>
                      </a:r>
                      <a:r>
                        <a:rPr lang="en-CA" sz="1200" i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marts</a:t>
                      </a:r>
                    </a:p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CA" sz="1200" i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eb services</a:t>
                      </a:r>
                      <a:endParaRPr lang="en-CA" sz="1200" i="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CA" sz="120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al-time analytics</a:t>
                      </a:r>
                    </a:p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CA" sz="1200" i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adoop data warehouse</a:t>
                      </a:r>
                    </a:p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CA" sz="1200" i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-memory DBMS</a:t>
                      </a:r>
                      <a:endParaRPr lang="en-CA" sz="1200" i="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792000"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CA" sz="1200" b="1" i="1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vert="vert27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CA" sz="1200" b="1" i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ata ingestion</a:t>
                      </a:r>
                    </a:p>
                  </a:txBody>
                  <a:tcPr vert="vert27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CA" sz="120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nect</a:t>
                      </a:r>
                      <a:r>
                        <a:rPr lang="en-CA" sz="1200" i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to Excel</a:t>
                      </a:r>
                    </a:p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CA" sz="1200" i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nect to ERP</a:t>
                      </a:r>
                    </a:p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CA" sz="1200" i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nect to CRM</a:t>
                      </a:r>
                      <a:endParaRPr lang="en-CA" sz="1200" i="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CA" sz="120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nect</a:t>
                      </a:r>
                      <a:r>
                        <a:rPr lang="en-CA" sz="1200" i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to unstructured data</a:t>
                      </a:r>
                    </a:p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CA" sz="1200" i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nect to social media</a:t>
                      </a:r>
                    </a:p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CA" sz="1200" i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nect to NoSQL</a:t>
                      </a:r>
                      <a:endParaRPr lang="en-CA" sz="1200" i="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sp>
        <p:nvSpPr>
          <p:cNvPr id="3" name="Left Brace 2"/>
          <p:cNvSpPr/>
          <p:nvPr/>
        </p:nvSpPr>
        <p:spPr>
          <a:xfrm>
            <a:off x="1223628" y="2960948"/>
            <a:ext cx="288032" cy="3348372"/>
          </a:xfrm>
          <a:prstGeom prst="leftBrace">
            <a:avLst/>
          </a:prstGeom>
          <a:ln w="28575">
            <a:solidFill>
              <a:srgbClr val="FF572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CA" dirty="0"/>
          </a:p>
        </p:txBody>
      </p:sp>
      <p:sp>
        <p:nvSpPr>
          <p:cNvPr id="18" name="Left Brace 17"/>
          <p:cNvSpPr/>
          <p:nvPr/>
        </p:nvSpPr>
        <p:spPr>
          <a:xfrm rot="5400000">
            <a:off x="3663511" y="980727"/>
            <a:ext cx="216024" cy="3096344"/>
          </a:xfrm>
          <a:prstGeom prst="leftBrace">
            <a:avLst/>
          </a:prstGeom>
          <a:ln w="28575">
            <a:solidFill>
              <a:srgbClr val="FF572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CA" dirty="0"/>
          </a:p>
        </p:txBody>
      </p:sp>
      <p:sp>
        <p:nvSpPr>
          <p:cNvPr id="20" name="Left Brace 19"/>
          <p:cNvSpPr/>
          <p:nvPr/>
        </p:nvSpPr>
        <p:spPr>
          <a:xfrm rot="5400000">
            <a:off x="7061108" y="980727"/>
            <a:ext cx="216024" cy="3096344"/>
          </a:xfrm>
          <a:prstGeom prst="leftBrace">
            <a:avLst/>
          </a:prstGeom>
          <a:ln w="28575">
            <a:solidFill>
              <a:srgbClr val="FF572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CA" dirty="0"/>
          </a:p>
        </p:txBody>
      </p:sp>
      <p:grpSp>
        <p:nvGrpSpPr>
          <p:cNvPr id="9" name="Group 8"/>
          <p:cNvGrpSpPr/>
          <p:nvPr/>
        </p:nvGrpSpPr>
        <p:grpSpPr>
          <a:xfrm>
            <a:off x="0" y="6422955"/>
            <a:ext cx="9144000" cy="437555"/>
            <a:chOff x="0" y="6422955"/>
            <a:chExt cx="9144000" cy="437555"/>
          </a:xfrm>
        </p:grpSpPr>
        <p:pic>
          <p:nvPicPr>
            <p:cNvPr id="10" name="Picture 3">
              <a:hlinkClick r:id="rId3"/>
            </p:cNvPr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0" y="6422955"/>
              <a:ext cx="9144000" cy="4375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1" name="Picture 10" descr="itrg-logo.png"/>
            <p:cNvPicPr>
              <a:picLocks noChangeAspect="1"/>
            </p:cNvPicPr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7477125" y="6453336"/>
              <a:ext cx="1400175" cy="381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435450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93893230"/>
              </p:ext>
            </p:extLst>
          </p:nvPr>
        </p:nvGraphicFramePr>
        <p:xfrm>
          <a:off x="233300" y="1304764"/>
          <a:ext cx="8625440" cy="51300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45440"/>
                <a:gridCol w="1656000"/>
                <a:gridCol w="1509168"/>
                <a:gridCol w="1908212"/>
                <a:gridCol w="1550620"/>
                <a:gridCol w="1656000"/>
              </a:tblGrid>
              <a:tr h="180000">
                <a:tc>
                  <a:txBody>
                    <a:bodyPr/>
                    <a:lstStyle/>
                    <a:p>
                      <a:pPr algn="ctr"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ru-RU" sz="1100" b="1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22860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5">
                  <a:txBody>
                    <a:bodyPr/>
                    <a:lstStyle/>
                    <a:p>
                      <a:pPr algn="ctr"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Develop a BI Tool</a:t>
                      </a:r>
                      <a:r>
                        <a:rPr lang="en-US" sz="1100" b="1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Strategy: Info-Tech’s Approach</a:t>
                      </a:r>
                      <a:endParaRPr lang="ru-RU" sz="1100" b="1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2286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ru-RU" sz="1000" b="1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22860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1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22860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22860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000" b="1" dirty="0">
                        <a:solidFill>
                          <a:schemeClr val="tx1"/>
                        </a:solidFill>
                      </a:endParaRPr>
                    </a:p>
                  </a:txBody>
                  <a:tcPr marL="228600"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</a:tr>
              <a:tr h="612000">
                <a:tc>
                  <a:txBody>
                    <a:bodyPr/>
                    <a:lstStyle/>
                    <a:p>
                      <a:pPr marL="0" indent="0" algn="l"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CA" sz="11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Section</a:t>
                      </a:r>
                      <a:endParaRPr lang="ru-RU" sz="1100" b="1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08000" marR="72000" vert="vert27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CA" sz="11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Determine</a:t>
                      </a:r>
                      <a:r>
                        <a:rPr lang="en-CA" sz="1100" b="1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target state BI capabilities</a:t>
                      </a:r>
                      <a:endParaRPr lang="ru-RU" sz="1100" b="1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08000" marR="72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CA" sz="11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Assess current state BI capabilities</a:t>
                      </a:r>
                      <a:endParaRPr lang="ru-RU" sz="1100" b="1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08000" marR="72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CA" sz="11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Define improvement initiatives to close</a:t>
                      </a:r>
                      <a:r>
                        <a:rPr lang="en-CA" sz="1100" b="1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gaps</a:t>
                      </a:r>
                      <a:endParaRPr lang="ru-RU" sz="1100" b="1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08000" marR="72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Track project progress and monitor BI performance</a:t>
                      </a:r>
                    </a:p>
                  </a:txBody>
                  <a:tcPr marL="7200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mmunicate and promote the BI tool strategy</a:t>
                      </a:r>
                      <a:endParaRPr lang="en-US" sz="11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00" marR="72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1152000">
                <a:tc>
                  <a:txBody>
                    <a:bodyPr/>
                    <a:lstStyle/>
                    <a:p>
                      <a:pPr marL="0" indent="0" algn="l"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CA" sz="11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Info-Tech</a:t>
                      </a:r>
                      <a:r>
                        <a:rPr lang="en-CA" sz="1100" b="1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Value</a:t>
                      </a:r>
                      <a:endParaRPr lang="en-CA" sz="1100" b="1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08000" marR="72000" vert="vert27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173736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CA" sz="11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Generate a </a:t>
                      </a:r>
                      <a:r>
                        <a:rPr lang="en-CA" sz="1100" b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customized set of recommended BI capabilities by c</a:t>
                      </a:r>
                      <a:r>
                        <a:rPr lang="en-CA" sz="11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onducting</a:t>
                      </a:r>
                      <a:r>
                        <a:rPr lang="en-CA" sz="1100" b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a BI profile and workgroup needs assessment.</a:t>
                      </a:r>
                    </a:p>
                    <a:p>
                      <a:pPr marL="173736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CA" sz="11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Develop custom BI capability maps based on each BI capability’s gap magnitude.</a:t>
                      </a:r>
                    </a:p>
                  </a:txBody>
                  <a:tcPr marL="108000" marR="72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l"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ru-RU" sz="1100" b="1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08000" marR="72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3736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CA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ccelerate improvement definition by using Info-Tech’s improvement initiatives mapped to every BI capability.</a:t>
                      </a:r>
                      <a:endParaRPr lang="ru-RU" sz="11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00" marR="72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3736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b="0" baseline="0" dirty="0" smtClean="0">
                          <a:solidFill>
                            <a:schemeClr val="tx1"/>
                          </a:solidFill>
                        </a:rPr>
                        <a:t>Track improvements using a tool.</a:t>
                      </a:r>
                    </a:p>
                    <a:p>
                      <a:pPr marL="173736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b="0" baseline="0" dirty="0" smtClean="0">
                          <a:solidFill>
                            <a:schemeClr val="tx1"/>
                          </a:solidFill>
                        </a:rPr>
                        <a:t>Measure BI performance using a recommended set of KPIs.</a:t>
                      </a:r>
                    </a:p>
                  </a:txBody>
                  <a:tcPr marL="72000" marR="4572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3736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fo-Tech</a:t>
                      </a:r>
                      <a:r>
                        <a:rPr lang="en-US" sz="11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provides use cases and analog statements for BI capabilities to facilitate IT-business communication.</a:t>
                      </a:r>
                      <a:endParaRPr lang="en-US" sz="1100" b="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00" marR="72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844000">
                <a:tc>
                  <a:txBody>
                    <a:bodyPr/>
                    <a:lstStyle/>
                    <a:p>
                      <a:pPr algn="ctr"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CA" sz="11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Activities</a:t>
                      </a:r>
                      <a:endParaRPr lang="ru-RU" sz="1100" b="1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08000" marR="72000" vert="vert27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173736" indent="-171450" algn="l" fontAlgn="auto">
                        <a:spcBef>
                          <a:spcPts val="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CA" sz="11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Define the target</a:t>
                      </a:r>
                      <a:r>
                        <a:rPr lang="en-CA" sz="1100" b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state BI capabilities across four layers of the BI stack.</a:t>
                      </a:r>
                    </a:p>
                    <a:p>
                      <a:pPr marL="173736" indent="-171450" algn="l" fontAlgn="auto">
                        <a:spcBef>
                          <a:spcPts val="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CA" sz="11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Take</a:t>
                      </a:r>
                      <a:r>
                        <a:rPr lang="en-CA" sz="1100" b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an inventory of applications.</a:t>
                      </a:r>
                    </a:p>
                    <a:p>
                      <a:pPr marL="173736" indent="-171450" algn="l" fontAlgn="auto">
                        <a:spcBef>
                          <a:spcPts val="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CA" sz="1100" b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Perform an application assessment.</a:t>
                      </a:r>
                      <a:endParaRPr lang="en-CA" sz="1100" b="0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173736" indent="-171450" algn="l" fontAlgn="auto">
                        <a:spcBef>
                          <a:spcPts val="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CA" sz="11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Develop</a:t>
                      </a:r>
                      <a:r>
                        <a:rPr lang="en-CA" sz="1100" b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BI capability maps.</a:t>
                      </a:r>
                      <a:endParaRPr lang="en-CA" sz="1100" b="1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algn="l"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CA" sz="1100" b="1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algn="l"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CA" sz="1100" b="1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algn="l"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CA" sz="1100" b="1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algn="l"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CA" sz="1100" b="1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algn="l"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CA" sz="1100" b="1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algn="l"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CA" sz="1100" b="1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algn="l"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CA" sz="1100" b="1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algn="l"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ru-RU" sz="1100" b="1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08000" marR="7200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l" fontAlgn="auto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ru-RU" sz="1200" b="1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08000" marR="72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173736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CA" sz="1100" b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Identify</a:t>
                      </a:r>
                      <a:r>
                        <a:rPr lang="en-CA" sz="1100" b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gaps and select improvements.</a:t>
                      </a:r>
                    </a:p>
                    <a:p>
                      <a:pPr marL="173736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CA" sz="1100" b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Create an improvement plan.</a:t>
                      </a:r>
                    </a:p>
                    <a:p>
                      <a:pPr marL="173736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CA" sz="1100" b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Perform a benefit/cost analysis of BI capabilities.</a:t>
                      </a:r>
                      <a:endParaRPr lang="ru-RU" sz="1100" b="0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08000" marR="7200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3736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b="0" dirty="0" smtClean="0">
                          <a:solidFill>
                            <a:schemeClr val="tx1"/>
                          </a:solidFill>
                        </a:rPr>
                        <a:t>Track</a:t>
                      </a:r>
                      <a:r>
                        <a:rPr lang="en-US" sz="1100" b="0" baseline="0" dirty="0" smtClean="0">
                          <a:solidFill>
                            <a:schemeClr val="tx1"/>
                          </a:solidFill>
                        </a:rPr>
                        <a:t> project progress.</a:t>
                      </a:r>
                    </a:p>
                    <a:p>
                      <a:pPr marL="173736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b="0" baseline="0" dirty="0" smtClean="0">
                          <a:solidFill>
                            <a:schemeClr val="tx1"/>
                          </a:solidFill>
                        </a:rPr>
                        <a:t>Create a BI measurement plan.</a:t>
                      </a:r>
                      <a:endParaRPr lang="en-US" sz="1100" b="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72000" marR="4572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2800" indent="-17145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dirty="0" smtClean="0">
                          <a:solidFill>
                            <a:schemeClr val="tx1"/>
                          </a:solidFill>
                        </a:rPr>
                        <a:t>Develop</a:t>
                      </a:r>
                      <a:r>
                        <a:rPr lang="en-US" sz="1100" b="0" baseline="0" dirty="0" smtClean="0">
                          <a:solidFill>
                            <a:schemeClr val="tx1"/>
                          </a:solidFill>
                        </a:rPr>
                        <a:t> use cases and analogies to describe BI capabilities.</a:t>
                      </a:r>
                    </a:p>
                    <a:p>
                      <a:pPr marL="172800" indent="-17145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dirty="0" smtClean="0">
                          <a:solidFill>
                            <a:schemeClr val="tx1"/>
                          </a:solidFill>
                        </a:rPr>
                        <a:t>Create</a:t>
                      </a:r>
                      <a:r>
                        <a:rPr lang="en-US" sz="1100" b="0" baseline="0" dirty="0" smtClean="0">
                          <a:solidFill>
                            <a:schemeClr val="tx1"/>
                          </a:solidFill>
                        </a:rPr>
                        <a:t> value statements.</a:t>
                      </a:r>
                    </a:p>
                    <a:p>
                      <a:pPr marL="17280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baseline="0" dirty="0" smtClean="0">
                          <a:solidFill>
                            <a:schemeClr val="tx1"/>
                          </a:solidFill>
                        </a:rPr>
                        <a:t>Develop a communication plan.</a:t>
                      </a:r>
                      <a:endParaRPr lang="en-US" sz="1100" b="0" dirty="0">
                        <a:solidFill>
                          <a:schemeClr val="tx1"/>
                        </a:solidFill>
                      </a:endParaRPr>
                    </a:p>
                  </a:txBody>
                  <a:tcPr marL="108000" marR="72000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pic>
        <p:nvPicPr>
          <p:cNvPr id="28" name="Picture 2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7188" y="4960488"/>
            <a:ext cx="2082816" cy="900770"/>
          </a:xfrm>
          <a:prstGeom prst="rect">
            <a:avLst/>
          </a:prstGeom>
        </p:spPr>
      </p:pic>
      <p:pic>
        <p:nvPicPr>
          <p:cNvPr id="29" name="Picture 2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700" y="5127151"/>
            <a:ext cx="2082816" cy="903183"/>
          </a:xfrm>
          <a:prstGeom prst="rect">
            <a:avLst/>
          </a:prstGeom>
        </p:spPr>
      </p:pic>
      <p:pic>
        <p:nvPicPr>
          <p:cNvPr id="30" name="Picture 2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0212" y="5293795"/>
            <a:ext cx="2082816" cy="907143"/>
          </a:xfrm>
          <a:prstGeom prst="rect">
            <a:avLst/>
          </a:prstGeom>
        </p:spPr>
      </p:pic>
      <p:pic>
        <p:nvPicPr>
          <p:cNvPr id="31" name="Picture 2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1725" y="5465077"/>
            <a:ext cx="2082816" cy="89510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 smtClean="0"/>
              <a:t>Fulfill the demand for advanced BI capabilities by following Info-Tech’s unique approach</a:t>
            </a:r>
            <a:endParaRPr lang="en-CA" dirty="0"/>
          </a:p>
        </p:txBody>
      </p:sp>
      <p:pic>
        <p:nvPicPr>
          <p:cNvPr id="38" name="Picture 7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3963511" y="5226863"/>
            <a:ext cx="1523273" cy="821297"/>
          </a:xfrm>
          <a:prstGeom prst="rect">
            <a:avLst/>
          </a:prstGeom>
        </p:spPr>
      </p:pic>
      <p:pic>
        <p:nvPicPr>
          <p:cNvPr id="42" name="Picture 9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5769501" y="5022998"/>
            <a:ext cx="1430791" cy="637823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43" name="Picture 6"/>
          <p:cNvPicPr>
            <a:picLocks noChangeAspect="1" noChangeArrowheads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643404" y="5501867"/>
            <a:ext cx="525898" cy="515201"/>
          </a:xfrm>
          <a:prstGeom prst="rect">
            <a:avLst/>
          </a:prstGeom>
          <a:noFill/>
        </p:spPr>
      </p:pic>
      <p:pic>
        <p:nvPicPr>
          <p:cNvPr id="41" name="Picture 40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5704513" y="4473116"/>
            <a:ext cx="1436163" cy="899673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49" name="Picture 48"/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7290288" y="5229200"/>
            <a:ext cx="1469060" cy="959386"/>
          </a:xfrm>
          <a:prstGeom prst="rect">
            <a:avLst/>
          </a:prstGeom>
        </p:spPr>
      </p:pic>
      <p:pic>
        <p:nvPicPr>
          <p:cNvPr id="50" name="Picture 49"/>
          <p:cNvPicPr>
            <a:picLocks noChangeAspect="1"/>
          </p:cNvPicPr>
          <p:nvPr/>
        </p:nvPicPr>
        <p:blipFill>
          <a:blip r:embed="rId11" cstate="print"/>
          <a:stretch>
            <a:fillRect/>
          </a:stretch>
        </p:blipFill>
        <p:spPr>
          <a:xfrm>
            <a:off x="7408582" y="5634181"/>
            <a:ext cx="1450158" cy="521991"/>
          </a:xfrm>
          <a:prstGeom prst="rect">
            <a:avLst/>
          </a:prstGeom>
        </p:spPr>
      </p:pic>
      <p:grpSp>
        <p:nvGrpSpPr>
          <p:cNvPr id="14" name="Group 13"/>
          <p:cNvGrpSpPr/>
          <p:nvPr/>
        </p:nvGrpSpPr>
        <p:grpSpPr>
          <a:xfrm>
            <a:off x="0" y="6422955"/>
            <a:ext cx="9144000" cy="437555"/>
            <a:chOff x="0" y="6422955"/>
            <a:chExt cx="9144000" cy="437555"/>
          </a:xfrm>
        </p:grpSpPr>
        <p:pic>
          <p:nvPicPr>
            <p:cNvPr id="15" name="Picture 3">
              <a:hlinkClick r:id="rId12"/>
            </p:cNvPr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0" y="6422955"/>
              <a:ext cx="9144000" cy="4375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6" name="Picture 15" descr="itrg-logo.png"/>
            <p:cNvPicPr>
              <a:picLocks noChangeAspect="1"/>
            </p:cNvPicPr>
            <p:nvPr/>
          </p:nvPicPr>
          <p:blipFill>
            <a:blip r:embed="rId14" cstate="print"/>
            <a:stretch>
              <a:fillRect/>
            </a:stretch>
          </p:blipFill>
          <p:spPr>
            <a:xfrm>
              <a:off x="7477125" y="6453336"/>
              <a:ext cx="1400175" cy="381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188843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 smtClean="0"/>
              <a:t>Info-Tech Research Group Helps IT Professionals To:</a:t>
            </a:r>
            <a:endParaRPr lang="en-CA" dirty="0"/>
          </a:p>
        </p:txBody>
      </p:sp>
      <p:sp>
        <p:nvSpPr>
          <p:cNvPr id="5" name="Text Placeholder 1"/>
          <p:cNvSpPr txBox="1">
            <a:spLocks/>
          </p:cNvSpPr>
          <p:nvPr/>
        </p:nvSpPr>
        <p:spPr bwMode="auto">
          <a:xfrm>
            <a:off x="0" y="3789040"/>
            <a:ext cx="9144000" cy="6120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 eaLnBrk="0" hangingPunct="0">
              <a:spcBef>
                <a:spcPts val="0"/>
              </a:spcBef>
              <a:buClr>
                <a:schemeClr val="tx1"/>
              </a:buClr>
              <a:buSzPct val="120000"/>
            </a:pPr>
            <a:r>
              <a:rPr lang="en-CA" b="1" dirty="0" smtClean="0">
                <a:latin typeface="+mn-lt"/>
              </a:rPr>
              <a:t>Sign up for free trial membership to get practical</a:t>
            </a:r>
          </a:p>
          <a:p>
            <a:pPr lvl="0" eaLnBrk="0" hangingPunct="0">
              <a:spcBef>
                <a:spcPts val="0"/>
              </a:spcBef>
              <a:buClr>
                <a:schemeClr val="tx1"/>
              </a:buClr>
              <a:buSzPct val="120000"/>
            </a:pPr>
            <a:r>
              <a:rPr lang="en-CA" b="1" dirty="0" smtClean="0">
                <a:latin typeface="+mn-lt"/>
              </a:rPr>
              <a:t>solutions for your IT challenges</a:t>
            </a:r>
          </a:p>
        </p:txBody>
      </p:sp>
      <p:sp>
        <p:nvSpPr>
          <p:cNvPr id="6" name="Text Placeholder 3"/>
          <p:cNvSpPr txBox="1">
            <a:spLocks/>
          </p:cNvSpPr>
          <p:nvPr/>
        </p:nvSpPr>
        <p:spPr bwMode="auto">
          <a:xfrm>
            <a:off x="6672262" y="6097434"/>
            <a:ext cx="2246697" cy="322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174625" marR="0" lvl="0" indent="-174625" algn="r" defTabSz="914400" rtl="0" eaLnBrk="0" fontAlgn="base" latinLnBrk="0" hangingPunct="0">
              <a:lnSpc>
                <a:spcPts val="135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/>
            </a:pPr>
            <a:r>
              <a:rPr lang="en-CA" sz="1400" b="1" dirty="0" smtClean="0">
                <a:latin typeface="+mn-lt"/>
                <a:hlinkClick r:id="rId2"/>
              </a:rPr>
              <a:t>www.infotech.com</a:t>
            </a:r>
            <a:endParaRPr kumimoji="0" lang="en-CA" sz="1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7" name="Picture 6" descr="green_button.png">
            <a:hlinkClick r:id="rId3"/>
          </p:cNvPr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2471738" y="4476933"/>
            <a:ext cx="4200525" cy="619125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257176" y="1628800"/>
            <a:ext cx="3018680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l">
              <a:buFont typeface="Wingdings" pitchFamily="2" charset="2"/>
              <a:buChar char="ü"/>
            </a:pPr>
            <a:r>
              <a:rPr lang="en-CA" sz="1400" dirty="0" smtClean="0"/>
              <a:t>Quickly get up to speed</a:t>
            </a:r>
            <a:br>
              <a:rPr lang="en-CA" sz="1400" dirty="0" smtClean="0"/>
            </a:br>
            <a:r>
              <a:rPr lang="en-CA" sz="1400" dirty="0" smtClean="0"/>
              <a:t>with new technologies</a:t>
            </a:r>
            <a:br>
              <a:rPr lang="en-CA" sz="1400" dirty="0" smtClean="0"/>
            </a:br>
            <a:endParaRPr lang="en-CA" sz="1400" dirty="0" smtClean="0"/>
          </a:p>
          <a:p>
            <a:pPr marL="342900" indent="-342900" algn="l">
              <a:buFont typeface="Wingdings" pitchFamily="2" charset="2"/>
              <a:buChar char="ü"/>
            </a:pPr>
            <a:r>
              <a:rPr lang="en-CA" sz="1400" dirty="0" smtClean="0"/>
              <a:t>Make the right technology</a:t>
            </a:r>
            <a:br>
              <a:rPr lang="en-CA" sz="1400" dirty="0" smtClean="0"/>
            </a:br>
            <a:r>
              <a:rPr lang="en-CA" sz="1400" dirty="0" smtClean="0"/>
              <a:t>purchasing decisions – fast</a:t>
            </a:r>
            <a:br>
              <a:rPr lang="en-CA" sz="1400" dirty="0" smtClean="0"/>
            </a:br>
            <a:endParaRPr lang="en-CA" sz="1400" dirty="0" smtClean="0"/>
          </a:p>
          <a:p>
            <a:pPr marL="342900" indent="-342900" algn="l">
              <a:buFont typeface="Wingdings" pitchFamily="2" charset="2"/>
              <a:buChar char="ü"/>
            </a:pPr>
            <a:r>
              <a:rPr lang="en-CA" sz="1400" dirty="0" smtClean="0"/>
              <a:t>Deliver critical IT</a:t>
            </a:r>
            <a:br>
              <a:rPr lang="en-CA" sz="1400" dirty="0" smtClean="0"/>
            </a:br>
            <a:r>
              <a:rPr lang="en-CA" sz="1400" dirty="0" smtClean="0"/>
              <a:t>projects, on time and</a:t>
            </a:r>
            <a:br>
              <a:rPr lang="en-CA" sz="1400" dirty="0" smtClean="0"/>
            </a:br>
            <a:r>
              <a:rPr lang="en-CA" sz="1400" dirty="0" smtClean="0"/>
              <a:t>within budget</a:t>
            </a:r>
          </a:p>
          <a:p>
            <a:endParaRPr lang="en-CA" sz="1400" dirty="0"/>
          </a:p>
        </p:txBody>
      </p:sp>
      <p:sp>
        <p:nvSpPr>
          <p:cNvPr id="9" name="Rectangle 8"/>
          <p:cNvSpPr/>
          <p:nvPr/>
        </p:nvSpPr>
        <p:spPr>
          <a:xfrm>
            <a:off x="3095836" y="1628800"/>
            <a:ext cx="3018680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l">
              <a:buFont typeface="Wingdings" pitchFamily="2" charset="2"/>
              <a:buChar char="ü"/>
            </a:pPr>
            <a:r>
              <a:rPr lang="en-CA" sz="1400" dirty="0" smtClean="0"/>
              <a:t>Manage business expectations</a:t>
            </a:r>
            <a:br>
              <a:rPr lang="en-CA" sz="1400" dirty="0" smtClean="0"/>
            </a:br>
            <a:endParaRPr lang="en-CA" sz="1400" dirty="0" smtClean="0"/>
          </a:p>
          <a:p>
            <a:pPr marL="342900" indent="-342900" algn="l">
              <a:buFont typeface="Wingdings" pitchFamily="2" charset="2"/>
              <a:buChar char="ü"/>
            </a:pPr>
            <a:r>
              <a:rPr lang="en-CA" sz="1400" dirty="0" smtClean="0"/>
              <a:t>Justify IT spending and</a:t>
            </a:r>
            <a:br>
              <a:rPr lang="en-CA" sz="1400" dirty="0" smtClean="0"/>
            </a:br>
            <a:r>
              <a:rPr lang="en-CA" sz="1400" dirty="0" smtClean="0"/>
              <a:t>prove the value of IT</a:t>
            </a:r>
            <a:r>
              <a:rPr lang="en-CA" sz="1400" dirty="0"/>
              <a:t/>
            </a:r>
            <a:br>
              <a:rPr lang="en-CA" sz="1400" dirty="0"/>
            </a:br>
            <a:endParaRPr lang="en-CA" sz="1400" dirty="0" smtClean="0"/>
          </a:p>
          <a:p>
            <a:pPr marL="342900" indent="-342900" algn="l">
              <a:buFont typeface="Wingdings" pitchFamily="2" charset="2"/>
              <a:buChar char="ü"/>
            </a:pPr>
            <a:r>
              <a:rPr lang="en-CA" sz="1400" dirty="0" smtClean="0"/>
              <a:t>Train IT staff and effectively</a:t>
            </a:r>
            <a:br>
              <a:rPr lang="en-CA" sz="1400" dirty="0" smtClean="0"/>
            </a:br>
            <a:r>
              <a:rPr lang="en-CA" sz="1400" dirty="0" smtClean="0"/>
              <a:t>manage an IT department</a:t>
            </a:r>
          </a:p>
        </p:txBody>
      </p:sp>
      <p:sp>
        <p:nvSpPr>
          <p:cNvPr id="14" name="Text Placeholder 41"/>
          <p:cNvSpPr>
            <a:spLocks noGrp="1"/>
          </p:cNvSpPr>
          <p:nvPr>
            <p:ph type="body" sz="quarter" idx="4294967295"/>
          </p:nvPr>
        </p:nvSpPr>
        <p:spPr>
          <a:xfrm>
            <a:off x="2215390" y="5233017"/>
            <a:ext cx="4713221" cy="82576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350"/>
              </a:lnSpc>
              <a:spcBef>
                <a:spcPts val="500"/>
              </a:spcBef>
              <a:buClr>
                <a:schemeClr val="bg1"/>
              </a:buClr>
              <a:buSzPct val="25000"/>
              <a:buFont typeface="Arial" pitchFamily="34" charset="0"/>
              <a:buChar char="•"/>
              <a:defRPr sz="1200" i="1" baseline="0">
                <a:solidFill>
                  <a:schemeClr val="tx1"/>
                </a:solidFill>
                <a:latin typeface="+mj-lt"/>
              </a:defRPr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accent2"/>
              </a:buClr>
              <a:buSzPct val="100000"/>
              <a:buFont typeface="Arial" pitchFamily="34" charset="0"/>
              <a:buChar char="-"/>
              <a:defRPr sz="1000">
                <a:solidFill>
                  <a:schemeClr val="tx1"/>
                </a:solidFill>
              </a:defRPr>
            </a:lvl2pPr>
            <a:lvl3pPr marL="895350" indent="-176213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/>
            </a:lvl3pPr>
            <a:lvl4pPr marL="1254125" indent="-174625">
              <a:lnSpc>
                <a:spcPts val="135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 algn="ctr">
              <a:defRPr/>
            </a:pPr>
            <a:r>
              <a:rPr lang="en-CA" dirty="0" smtClean="0"/>
              <a:t>“Info-Tech helps me to be proactive instead of reactive –</a:t>
            </a:r>
            <a:br>
              <a:rPr lang="en-CA" dirty="0" smtClean="0"/>
            </a:br>
            <a:r>
              <a:rPr lang="en-CA" dirty="0" smtClean="0"/>
              <a:t>a cardinal rule in a stable and leading edge IT environment.</a:t>
            </a:r>
          </a:p>
          <a:p>
            <a:pPr lvl="1" algn="ctr">
              <a:buNone/>
              <a:defRPr/>
            </a:pPr>
            <a:r>
              <a:rPr lang="en-CA" dirty="0" smtClean="0"/>
              <a:t>- ARCS Commercial Mortgage Co., LP</a:t>
            </a:r>
            <a:endParaRPr lang="en-US" dirty="0" smtClean="0"/>
          </a:p>
        </p:txBody>
      </p:sp>
      <p:pic>
        <p:nvPicPr>
          <p:cNvPr id="15" name="Picture 14" descr="report_thumbnail-itrg.pn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6312731" y="1578285"/>
            <a:ext cx="2454020" cy="2138747"/>
          </a:xfrm>
          <a:prstGeom prst="rect">
            <a:avLst/>
          </a:prstGeom>
        </p:spPr>
      </p:pic>
      <p:sp>
        <p:nvSpPr>
          <p:cNvPr id="20" name="Text Placeholder 3"/>
          <p:cNvSpPr txBox="1">
            <a:spLocks/>
          </p:cNvSpPr>
          <p:nvPr/>
        </p:nvSpPr>
        <p:spPr bwMode="auto">
          <a:xfrm>
            <a:off x="287524" y="6097434"/>
            <a:ext cx="2762784" cy="3255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174625" marR="0" lvl="0" indent="-174625" algn="l" defTabSz="914400" rtl="0" eaLnBrk="0" fontAlgn="base" latinLnBrk="0" hangingPunct="0">
              <a:lnSpc>
                <a:spcPts val="135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/>
            </a:pPr>
            <a:r>
              <a:rPr lang="en-CA" sz="1200" b="1" dirty="0" smtClean="0">
                <a:latin typeface="+mn-lt"/>
              </a:rPr>
              <a:t>Toll Free: </a:t>
            </a:r>
            <a:r>
              <a:rPr kumimoji="0" lang="en-CA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1-888-670-8889</a:t>
            </a:r>
            <a:endParaRPr kumimoji="0" lang="en-CA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grpSp>
        <p:nvGrpSpPr>
          <p:cNvPr id="17" name="Group 16"/>
          <p:cNvGrpSpPr/>
          <p:nvPr/>
        </p:nvGrpSpPr>
        <p:grpSpPr>
          <a:xfrm>
            <a:off x="0" y="6422955"/>
            <a:ext cx="9144000" cy="437555"/>
            <a:chOff x="0" y="6422955"/>
            <a:chExt cx="9144000" cy="437555"/>
          </a:xfrm>
        </p:grpSpPr>
        <p:pic>
          <p:nvPicPr>
            <p:cNvPr id="1027" name="Picture 3">
              <a:hlinkClick r:id="rId3"/>
            </p:cNvPr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0" y="6422955"/>
              <a:ext cx="9144000" cy="4375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6" name="Picture 15" descr="itrg-logo.png"/>
            <p:cNvPicPr>
              <a:picLocks noChangeAspect="1"/>
            </p:cNvPicPr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7477125" y="6453336"/>
              <a:ext cx="1400175" cy="381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987164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257176" y="1232756"/>
            <a:ext cx="8620124" cy="657225"/>
          </a:xfrm>
        </p:spPr>
        <p:txBody>
          <a:bodyPr/>
          <a:lstStyle/>
          <a:p>
            <a:r>
              <a:rPr lang="en-CA" dirty="0" smtClean="0"/>
              <a:t>Involve the business in developing the organization’s BI tool strategy to get funding and approval, and improve the adoption and satisfaction of BI tools.</a:t>
            </a:r>
            <a:endParaRPr lang="en-CA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 smtClean="0"/>
              <a:t>Introduction</a:t>
            </a:r>
            <a:endParaRPr lang="en-CA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marL="268288" indent="-268288"/>
            <a:r>
              <a:rPr lang="en-CA" dirty="0" smtClean="0"/>
              <a:t>CIOs who are responsible and accountable for providing the business with accurate and timely information.</a:t>
            </a:r>
          </a:p>
          <a:p>
            <a:pPr marL="268288" indent="-268288"/>
            <a:r>
              <a:rPr lang="en-CA" dirty="0"/>
              <a:t>CIOs who are experiencing pressure from the business to provide them with predictive analytics, social analytics, real-time analytics, big data analytics, etc.</a:t>
            </a:r>
          </a:p>
          <a:p>
            <a:pPr marL="268288" indent="-268288"/>
            <a:r>
              <a:rPr lang="en-CA" dirty="0" smtClean="0"/>
              <a:t>CIOs who are responsible for assessing and planning business intelligence capabilities.</a:t>
            </a:r>
          </a:p>
          <a:p>
            <a:pPr marL="268288" indent="-268288"/>
            <a:r>
              <a:rPr lang="en-CA" dirty="0" smtClean="0"/>
              <a:t>CIOs who are experiencing departmental BI; lines of business (e.g. marketing, sales, service) accessing and creating multiple unintegrated data sets.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pPr marL="268288" indent="-268288"/>
            <a:r>
              <a:rPr lang="en-CA" dirty="0" smtClean="0"/>
              <a:t>Develop a BI </a:t>
            </a:r>
            <a:r>
              <a:rPr lang="en-CA" dirty="0"/>
              <a:t>tool strategy </a:t>
            </a:r>
            <a:r>
              <a:rPr lang="en-CA" dirty="0" smtClean="0"/>
              <a:t>project charter.</a:t>
            </a:r>
            <a:endParaRPr lang="en-CA" dirty="0"/>
          </a:p>
          <a:p>
            <a:pPr marL="268288" indent="-268288"/>
            <a:r>
              <a:rPr lang="en-CA" dirty="0" smtClean="0"/>
              <a:t>Determine </a:t>
            </a:r>
            <a:r>
              <a:rPr lang="en-CA" dirty="0"/>
              <a:t>the target state </a:t>
            </a:r>
            <a:r>
              <a:rPr lang="en-CA" dirty="0" smtClean="0"/>
              <a:t>BI </a:t>
            </a:r>
            <a:r>
              <a:rPr lang="en-CA" dirty="0"/>
              <a:t>capabilities.</a:t>
            </a:r>
          </a:p>
          <a:p>
            <a:pPr marL="268288" indent="-268288"/>
            <a:r>
              <a:rPr lang="en-CA" dirty="0" smtClean="0"/>
              <a:t>Assess current </a:t>
            </a:r>
            <a:r>
              <a:rPr lang="en-CA" dirty="0"/>
              <a:t>state BI </a:t>
            </a:r>
            <a:r>
              <a:rPr lang="en-CA" dirty="0" smtClean="0"/>
              <a:t>capabilities.</a:t>
            </a:r>
            <a:endParaRPr lang="en-CA" dirty="0"/>
          </a:p>
          <a:p>
            <a:pPr marL="268288" indent="-268288"/>
            <a:r>
              <a:rPr lang="en-CA" dirty="0" smtClean="0"/>
              <a:t>Define </a:t>
            </a:r>
            <a:r>
              <a:rPr lang="en-CA" dirty="0"/>
              <a:t>improvement initiatives to close gaps.</a:t>
            </a:r>
          </a:p>
          <a:p>
            <a:pPr marL="268288" indent="-268288"/>
            <a:r>
              <a:rPr lang="en-CA" dirty="0" smtClean="0"/>
              <a:t>Track </a:t>
            </a:r>
            <a:r>
              <a:rPr lang="en-CA" dirty="0"/>
              <a:t>project progress and monitor BI performance.</a:t>
            </a:r>
          </a:p>
          <a:p>
            <a:pPr marL="268288" indent="-268288"/>
            <a:r>
              <a:rPr lang="en-CA" dirty="0" smtClean="0"/>
              <a:t>Communicate </a:t>
            </a:r>
            <a:r>
              <a:rPr lang="en-CA" dirty="0"/>
              <a:t>and promote the BI tool strategy.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249302" y="2168860"/>
            <a:ext cx="313456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CA" sz="1400" b="1" dirty="0" smtClean="0"/>
              <a:t>This Research Is Designed</a:t>
            </a:r>
            <a:r>
              <a:rPr lang="en-CA" sz="1400" b="1" baseline="0" dirty="0" smtClean="0"/>
              <a:t> For:</a:t>
            </a:r>
            <a:endParaRPr lang="en-CA" sz="1400" b="1" dirty="0"/>
          </a:p>
        </p:txBody>
      </p:sp>
      <p:sp>
        <p:nvSpPr>
          <p:cNvPr id="9" name="TextBox 8"/>
          <p:cNvSpPr txBox="1"/>
          <p:nvPr/>
        </p:nvSpPr>
        <p:spPr>
          <a:xfrm>
            <a:off x="4860032" y="2168860"/>
            <a:ext cx="280831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CA" sz="1400" b="1" dirty="0" smtClean="0"/>
              <a:t>This Research</a:t>
            </a:r>
            <a:r>
              <a:rPr lang="en-CA" sz="1400" b="1" baseline="0" dirty="0" smtClean="0"/>
              <a:t> Will Help You:</a:t>
            </a:r>
            <a:endParaRPr lang="en-CA" sz="1400" b="1" dirty="0"/>
          </a:p>
        </p:txBody>
      </p:sp>
      <p:cxnSp>
        <p:nvCxnSpPr>
          <p:cNvPr id="13" name="Straight Connector 12"/>
          <p:cNvCxnSpPr/>
          <p:nvPr/>
        </p:nvCxnSpPr>
        <p:spPr>
          <a:xfrm rot="5400000">
            <a:off x="3383876" y="3695725"/>
            <a:ext cx="2376261" cy="0"/>
          </a:xfrm>
          <a:prstGeom prst="line">
            <a:avLst/>
          </a:prstGeom>
          <a:ln w="25400" cap="rnd">
            <a:solidFill>
              <a:schemeClr val="accent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" name="Group 13"/>
          <p:cNvGrpSpPr/>
          <p:nvPr/>
        </p:nvGrpSpPr>
        <p:grpSpPr>
          <a:xfrm>
            <a:off x="0" y="6422955"/>
            <a:ext cx="9144000" cy="437555"/>
            <a:chOff x="0" y="6422955"/>
            <a:chExt cx="9144000" cy="437555"/>
          </a:xfrm>
        </p:grpSpPr>
        <p:pic>
          <p:nvPicPr>
            <p:cNvPr id="15" name="Picture 3">
              <a:hlinkClick r:id="rId3"/>
            </p:cNvPr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0" y="6422955"/>
              <a:ext cx="9144000" cy="4375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6" name="Picture 15" descr="itrg-logo.png"/>
            <p:cNvPicPr>
              <a:picLocks noChangeAspect="1"/>
            </p:cNvPicPr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7477125" y="6453336"/>
              <a:ext cx="1400175" cy="381000"/>
            </a:xfrm>
            <a:prstGeom prst="rect">
              <a:avLst/>
            </a:prstGeom>
          </p:spPr>
        </p:pic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 smtClean="0"/>
              <a:t>Executive Summary</a:t>
            </a:r>
            <a:endParaRPr lang="en-CA" dirty="0"/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0249803"/>
              </p:ext>
            </p:extLst>
          </p:nvPr>
        </p:nvGraphicFramePr>
        <p:xfrm>
          <a:off x="251518" y="1237184"/>
          <a:ext cx="8604000" cy="49987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412000"/>
                <a:gridCol w="6192000"/>
              </a:tblGrid>
              <a:tr h="0">
                <a:tc gridSpan="2"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1200" b="1" u="none" dirty="0" smtClean="0"/>
                        <a:t>Situation:</a:t>
                      </a:r>
                      <a:endParaRPr lang="en-US" sz="1200" u="none" dirty="0" smtClean="0"/>
                    </a:p>
                    <a:p>
                      <a:pPr marL="171450" indent="-171450"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b="1" dirty="0" smtClean="0"/>
                        <a:t>The CIO must ensure the right set of enterprise and workgroup BI capabilities </a:t>
                      </a:r>
                      <a:r>
                        <a:rPr lang="en-US" sz="1200" dirty="0" smtClean="0"/>
                        <a:t>are employed in the organization, as he/she is accountable for providing the business with accurate and reliable information to make decisions. It takes just one wrong decision to begin preparing your job search.</a:t>
                      </a:r>
                    </a:p>
                    <a:p>
                      <a:pPr marL="171450" indent="-171450"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b="1" dirty="0" smtClean="0"/>
                        <a:t>Advanced BI capabilities </a:t>
                      </a:r>
                      <a:r>
                        <a:rPr lang="en-US" sz="1200" dirty="0" smtClean="0"/>
                        <a:t>(real-time analytics, predictive analytics, social analytics, big data analytics) are used now more than ever. The business demands these capabilities as they provide significant opportunity for a competitive advantage.</a:t>
                      </a:r>
                    </a:p>
                    <a:p>
                      <a:pPr marL="0" indent="0">
                        <a:spcBef>
                          <a:spcPts val="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1200" b="1" u="none" dirty="0" smtClean="0"/>
                        <a:t>Complication:</a:t>
                      </a:r>
                    </a:p>
                    <a:p>
                      <a:pPr marL="171450" indent="-17145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b="1" dirty="0" smtClean="0"/>
                        <a:t>The CIO has difficulty sifting through the wide array of BI capabilities available </a:t>
                      </a:r>
                      <a:r>
                        <a:rPr lang="en-US" sz="1200" dirty="0" smtClean="0"/>
                        <a:t>in the market and mapping them to the enterprise’s BI needs.</a:t>
                      </a:r>
                    </a:p>
                    <a:p>
                      <a:pPr marL="171450" indent="-171450">
                        <a:spcBef>
                          <a:spcPts val="0"/>
                        </a:spcBef>
                        <a:spcAft>
                          <a:spcPts val="3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b="1" dirty="0" smtClean="0"/>
                        <a:t>The CIO juggles factors such as </a:t>
                      </a:r>
                      <a:r>
                        <a:rPr lang="en-US" sz="1200" dirty="0" smtClean="0"/>
                        <a:t>high non-discretionary spend, proliferation of BI applications, and inability to adapt legacy applications while attempting to revamp the set of enterprise BI tools.</a:t>
                      </a:r>
                      <a:endParaRPr lang="en-CA" sz="12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CA" sz="1200" dirty="0"/>
                    </a:p>
                  </a:txBody>
                  <a:tcPr/>
                </a:tc>
              </a:tr>
              <a:tr h="0">
                <a:tc gridSpan="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u="none" dirty="0" smtClean="0"/>
                        <a:t>Info-Tech’s unique plan of action:</a:t>
                      </a:r>
                      <a:endParaRPr lang="en-CA" sz="1200" u="none" dirty="0"/>
                    </a:p>
                  </a:txBody>
                  <a:tcPr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CA" sz="1200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pPr marL="228600" indent="-228600" algn="l" defTabSz="914400" rtl="0" eaLnBrk="1" fontAlgn="auto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defRPr/>
                      </a:pPr>
                      <a:r>
                        <a:rPr lang="en-CA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etermine target state BI capabilities</a:t>
                      </a:r>
                      <a:endParaRPr lang="en-CA" sz="12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CA" sz="1200" dirty="0" smtClean="0"/>
                        <a:t>Spend less effort analyzing the complex BI market.</a:t>
                      </a:r>
                      <a:r>
                        <a:rPr lang="en-CA" sz="1200" baseline="0" dirty="0" smtClean="0"/>
                        <a:t> Info-Tech Research Group has divided BI capabilities into basic (BI 1.0) and advanced (BI 2.0) and provides tools to determine the set of required capabilities based on your specific needs.</a:t>
                      </a:r>
                      <a:endParaRPr lang="en-CA" sz="1200" dirty="0"/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228600" marR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 startAt="2"/>
                        <a:tabLst/>
                        <a:defRPr/>
                      </a:pPr>
                      <a:r>
                        <a:rPr lang="en-CA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ssess current state BI capabilities</a:t>
                      </a:r>
                      <a:endParaRPr lang="en-CA" sz="12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CA" sz="1200" dirty="0" smtClean="0"/>
                        <a:t>Involve</a:t>
                      </a:r>
                      <a:r>
                        <a:rPr lang="en-CA" sz="1200" baseline="0" dirty="0" smtClean="0"/>
                        <a:t> key IT staff members in the current state assessment. Info-Tech suggests key IT staff to contact and provides tools for inventories and application quality assessments.</a:t>
                      </a:r>
                      <a:endParaRPr lang="en-CA" sz="1200" dirty="0"/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228600" marR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 startAt="3"/>
                        <a:tabLst/>
                        <a:defRPr/>
                      </a:pPr>
                      <a:r>
                        <a:rPr lang="en-CA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efine improvement initiatives to close gaps</a:t>
                      </a:r>
                      <a:endParaRPr lang="en-CA" sz="12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CA" sz="1200" dirty="0" smtClean="0"/>
                        <a:t>Info-Tech provides </a:t>
                      </a:r>
                      <a:r>
                        <a:rPr lang="en-CA" sz="1200" baseline="0" dirty="0" smtClean="0"/>
                        <a:t>improvement initiatives that are mapped to the BI capabilities your organization requires. View the BI capabilities in a customized BI capability map.</a:t>
                      </a:r>
                      <a:endParaRPr lang="en-CA" sz="1200" dirty="0"/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228600" marR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 startAt="4"/>
                        <a:tabLst/>
                        <a:defRPr/>
                      </a:pPr>
                      <a:r>
                        <a:rPr lang="en-CA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rack project progress and monitor BI performance</a:t>
                      </a:r>
                      <a:endParaRPr lang="en-CA" sz="12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CA" sz="1200" dirty="0" smtClean="0"/>
                        <a:t>Info-Tech provides</a:t>
                      </a:r>
                      <a:r>
                        <a:rPr lang="en-CA" sz="1200" baseline="0" dirty="0" smtClean="0"/>
                        <a:t> tools to monitor this project and measure BI performance. Define value measures to indirectly measure BI’s impact on business value.</a:t>
                      </a:r>
                      <a:endParaRPr lang="en-CA" sz="1200" dirty="0"/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228600" marR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 startAt="5"/>
                        <a:tabLst/>
                        <a:defRPr/>
                      </a:pPr>
                      <a:r>
                        <a:rPr lang="en-CA" sz="12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mmunicate and promote the BI tool strategy</a:t>
                      </a:r>
                      <a:endParaRPr lang="en-CA" sz="12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CA" sz="1200" dirty="0" smtClean="0"/>
                        <a:t>Info-Tech provides BI use cases</a:t>
                      </a:r>
                      <a:r>
                        <a:rPr lang="en-CA" sz="1200" baseline="0" dirty="0" smtClean="0"/>
                        <a:t> to outline how specific workgroup tasks relate to different BI capabilities, and provides analog statements to explain abstract concepts.</a:t>
                      </a:r>
                      <a:endParaRPr lang="en-CA" sz="1200" dirty="0"/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grpSp>
        <p:nvGrpSpPr>
          <p:cNvPr id="4" name="Group 3"/>
          <p:cNvGrpSpPr/>
          <p:nvPr/>
        </p:nvGrpSpPr>
        <p:grpSpPr>
          <a:xfrm>
            <a:off x="0" y="6422955"/>
            <a:ext cx="9144000" cy="437555"/>
            <a:chOff x="0" y="6422955"/>
            <a:chExt cx="9144000" cy="437555"/>
          </a:xfrm>
        </p:grpSpPr>
        <p:pic>
          <p:nvPicPr>
            <p:cNvPr id="5" name="Picture 3">
              <a:hlinkClick r:id="rId3"/>
            </p:cNvPr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0" y="6422955"/>
              <a:ext cx="9144000" cy="4375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" name="Picture 5" descr="itrg-logo.png"/>
            <p:cNvPicPr>
              <a:picLocks noChangeAspect="1"/>
            </p:cNvPicPr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7477125" y="6453336"/>
              <a:ext cx="1400175" cy="381000"/>
            </a:xfrm>
            <a:prstGeom prst="rect">
              <a:avLst/>
            </a:prstGeom>
          </p:spPr>
        </p:pic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6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Picture 154"/>
                      <p:cNvPicPr>
                        <a:picLocks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CA" dirty="0" smtClean="0"/>
              <a:t>This blueprint is part of Info-Tech’s </a:t>
            </a:r>
            <a:r>
              <a:rPr lang="en-CA" dirty="0"/>
              <a:t>business intelligence research </a:t>
            </a:r>
            <a:r>
              <a:rPr lang="en-CA" dirty="0" smtClean="0"/>
              <a:t>roadmap</a:t>
            </a:r>
            <a:endParaRPr lang="en-US" dirty="0"/>
          </a:p>
        </p:txBody>
      </p:sp>
      <p:sp>
        <p:nvSpPr>
          <p:cNvPr id="32" name="TextBox 31"/>
          <p:cNvSpPr txBox="1"/>
          <p:nvPr>
            <p:custDataLst>
              <p:tags r:id="rId4"/>
            </p:custDataLst>
          </p:nvPr>
        </p:nvSpPr>
        <p:spPr>
          <a:xfrm>
            <a:off x="285720" y="1177588"/>
            <a:ext cx="857256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lang="en-CA" b="1" dirty="0" smtClean="0">
                <a:solidFill>
                  <a:srgbClr val="333333"/>
                </a:solidFill>
                <a:latin typeface="Arial"/>
              </a:rPr>
              <a:t>Info-Tech’s BI and data research covers all the bases of running a complete BI program.</a:t>
            </a:r>
            <a:endParaRPr lang="en-CA" b="1" dirty="0">
              <a:solidFill>
                <a:srgbClr val="333333"/>
              </a:solidFill>
              <a:latin typeface="Arial"/>
            </a:endParaRPr>
          </a:p>
        </p:txBody>
      </p:sp>
      <p:sp>
        <p:nvSpPr>
          <p:cNvPr id="21" name="Rectangle 20"/>
          <p:cNvSpPr/>
          <p:nvPr>
            <p:custDataLst>
              <p:tags r:id="rId5"/>
            </p:custDataLst>
          </p:nvPr>
        </p:nvSpPr>
        <p:spPr>
          <a:xfrm>
            <a:off x="267704" y="2502894"/>
            <a:ext cx="2004966" cy="2111429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5">
                  <a:lumMod val="20000"/>
                  <a:lumOff val="80000"/>
                </a:schemeClr>
              </a:gs>
            </a:gsLst>
            <a:lin ang="16200000" scaled="1"/>
          </a:gradFill>
          <a:ln w="1270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91440" rIns="36000" rtlCol="0" anchor="t"/>
          <a:lstStyle/>
          <a:p>
            <a:r>
              <a:rPr lang="en-US" sz="1200" b="1" dirty="0" smtClean="0">
                <a:solidFill>
                  <a:schemeClr val="accent1">
                    <a:lumMod val="75000"/>
                  </a:schemeClr>
                </a:solidFill>
              </a:rPr>
              <a:t>Develop a Corporate BI Strategy</a:t>
            </a:r>
          </a:p>
          <a:p>
            <a:pPr marL="177800" indent="-177800" algn="l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endParaRPr lang="en-US" sz="1200" dirty="0" smtClean="0">
              <a:solidFill>
                <a:srgbClr val="333333"/>
              </a:solidFill>
            </a:endParaRPr>
          </a:p>
          <a:p>
            <a:pPr marL="177800" indent="-177800" algn="l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rgbClr val="333333"/>
                </a:solidFill>
              </a:rPr>
              <a:t>Analyze the business vision, mission, and goals to capture the right information and provide the business with the answers they need.</a:t>
            </a:r>
            <a:endParaRPr lang="en-US" sz="1200" i="1" dirty="0" smtClean="0">
              <a:solidFill>
                <a:srgbClr val="333333"/>
              </a:solidFill>
            </a:endParaRPr>
          </a:p>
          <a:p>
            <a:pPr marL="177800" indent="-177800" algn="l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en-US" sz="1200" i="1" dirty="0" smtClean="0">
                <a:solidFill>
                  <a:srgbClr val="333333"/>
                </a:solidFill>
              </a:rPr>
              <a:t>Note: This research is upcoming.</a:t>
            </a:r>
            <a:endParaRPr lang="en-US" sz="1200" i="1" dirty="0">
              <a:solidFill>
                <a:srgbClr val="333333"/>
              </a:solidFill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267704" y="1808820"/>
            <a:ext cx="2004966" cy="560285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5">
                  <a:lumMod val="20000"/>
                  <a:lumOff val="80000"/>
                </a:schemeClr>
              </a:gs>
            </a:gsLst>
          </a:gra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CA" sz="1200" b="1" dirty="0" smtClean="0">
                <a:solidFill>
                  <a:srgbClr val="333333"/>
                </a:solidFill>
              </a:rPr>
              <a:t>Strategy</a:t>
            </a:r>
          </a:p>
        </p:txBody>
      </p:sp>
      <p:sp>
        <p:nvSpPr>
          <p:cNvPr id="6" name="Right Arrow 5"/>
          <p:cNvSpPr/>
          <p:nvPr/>
        </p:nvSpPr>
        <p:spPr>
          <a:xfrm>
            <a:off x="285720" y="5985284"/>
            <a:ext cx="8558300" cy="432048"/>
          </a:xfrm>
          <a:prstGeom prst="rightArrow">
            <a:avLst/>
          </a:prstGeom>
          <a:solidFill>
            <a:srgbClr val="D17D08"/>
          </a:solidFill>
          <a:ln>
            <a:noFill/>
          </a:ln>
          <a:effectLst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4" name="Rectangle 13"/>
          <p:cNvSpPr/>
          <p:nvPr>
            <p:custDataLst>
              <p:tags r:id="rId6"/>
            </p:custDataLst>
          </p:nvPr>
        </p:nvSpPr>
        <p:spPr>
          <a:xfrm>
            <a:off x="2469343" y="2502894"/>
            <a:ext cx="2004966" cy="3374378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5">
                  <a:lumMod val="20000"/>
                  <a:lumOff val="80000"/>
                </a:schemeClr>
              </a:gs>
            </a:gsLst>
            <a:lin ang="16200000" scaled="1"/>
          </a:gradFill>
          <a:ln w="1270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91440" rIns="36000" rtlCol="0" anchor="t"/>
          <a:lstStyle/>
          <a:p>
            <a:r>
              <a:rPr lang="en-US" sz="1200" b="1" dirty="0" smtClean="0">
                <a:solidFill>
                  <a:schemeClr val="accent1">
                    <a:lumMod val="75000"/>
                  </a:schemeClr>
                </a:solidFill>
                <a:hlinkClick r:id="rId14"/>
              </a:rPr>
              <a:t>Assess and Optimize BI Operations</a:t>
            </a:r>
            <a:endParaRPr lang="en-US" sz="1200" b="1" dirty="0" smtClean="0">
              <a:solidFill>
                <a:schemeClr val="accent1">
                  <a:lumMod val="75000"/>
                </a:schemeClr>
              </a:solidFill>
            </a:endParaRPr>
          </a:p>
          <a:p>
            <a:pPr marL="227013" indent="-227013" algn="l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endParaRPr lang="en-US" sz="1200" dirty="0" smtClean="0">
              <a:solidFill>
                <a:srgbClr val="333333"/>
              </a:solidFill>
            </a:endParaRPr>
          </a:p>
          <a:p>
            <a:pPr marL="227013" indent="-227013" algn="l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rgbClr val="333333"/>
                </a:solidFill>
              </a:rPr>
              <a:t>Define the organization structure for BI, develop BI processes, establish roles and responsibilities, evaluate skills, and assess application functions to optimize the BI operating model.</a:t>
            </a:r>
            <a:endParaRPr lang="en-US" sz="1200" dirty="0">
              <a:solidFill>
                <a:srgbClr val="333333"/>
              </a:solidFill>
            </a:endParaRPr>
          </a:p>
        </p:txBody>
      </p:sp>
      <p:sp>
        <p:nvSpPr>
          <p:cNvPr id="15" name="Rectangle 14"/>
          <p:cNvSpPr/>
          <p:nvPr>
            <p:custDataLst>
              <p:tags r:id="rId7"/>
            </p:custDataLst>
          </p:nvPr>
        </p:nvSpPr>
        <p:spPr>
          <a:xfrm>
            <a:off x="4670982" y="2502894"/>
            <a:ext cx="2004966" cy="3374378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5">
                  <a:lumMod val="20000"/>
                  <a:lumOff val="80000"/>
                </a:schemeClr>
              </a:gs>
            </a:gsLst>
            <a:lin ang="16200000" scaled="1"/>
          </a:gradFill>
          <a:ln w="1270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91440" rIns="36000" rtlCol="0" anchor="t"/>
          <a:lstStyle/>
          <a:p>
            <a:r>
              <a:rPr lang="en-US" sz="1200" b="1" dirty="0" smtClean="0">
                <a:solidFill>
                  <a:schemeClr val="accent1">
                    <a:lumMod val="75000"/>
                  </a:schemeClr>
                </a:solidFill>
                <a:hlinkClick r:id="rId15"/>
              </a:rPr>
              <a:t>WCO: Data Architecture</a:t>
            </a:r>
            <a:endParaRPr lang="en-US" sz="1200" b="1" dirty="0" smtClean="0">
              <a:solidFill>
                <a:schemeClr val="accent1">
                  <a:lumMod val="75000"/>
                </a:schemeClr>
              </a:solidFill>
            </a:endParaRPr>
          </a:p>
          <a:p>
            <a:endParaRPr lang="en-US" sz="1200" dirty="0" smtClean="0">
              <a:solidFill>
                <a:srgbClr val="333333"/>
              </a:solidFill>
            </a:endParaRPr>
          </a:p>
          <a:p>
            <a:pPr marL="227013" indent="-227013" algn="l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rgbClr val="333333"/>
                </a:solidFill>
              </a:rPr>
              <a:t>Determine the organization’s data value and risk, perform a data audit, develop a data architecture, create an implementation plan, and establish success metrics to get the most value out of your organization’s data.</a:t>
            </a:r>
            <a:endParaRPr lang="en-US" sz="1200" dirty="0">
              <a:solidFill>
                <a:srgbClr val="333333"/>
              </a:solidFill>
            </a:endParaRPr>
          </a:p>
        </p:txBody>
      </p:sp>
      <p:sp>
        <p:nvSpPr>
          <p:cNvPr id="16" name="Rectangle 15"/>
          <p:cNvSpPr/>
          <p:nvPr>
            <p:custDataLst>
              <p:tags r:id="rId8"/>
            </p:custDataLst>
          </p:nvPr>
        </p:nvSpPr>
        <p:spPr>
          <a:xfrm>
            <a:off x="6872620" y="2502894"/>
            <a:ext cx="2004966" cy="337437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2700">
            <a:solidFill>
              <a:schemeClr val="accent1"/>
            </a:solidFill>
          </a:ln>
          <a:effectLst>
            <a:glow rad="63500">
              <a:schemeClr val="accent2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91440" rIns="36000" rtlCol="0" anchor="t"/>
          <a:lstStyle/>
          <a:p>
            <a:r>
              <a:rPr lang="en-US" sz="1200" b="1" dirty="0" smtClean="0">
                <a:solidFill>
                  <a:schemeClr val="accent1">
                    <a:lumMod val="75000"/>
                  </a:schemeClr>
                </a:solidFill>
              </a:rPr>
              <a:t>Develop a BI Tool Strategy</a:t>
            </a:r>
          </a:p>
          <a:p>
            <a:pPr marL="227013" indent="-227013" algn="l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endParaRPr lang="en-US" sz="1200" dirty="0" smtClean="0">
              <a:solidFill>
                <a:srgbClr val="333333"/>
              </a:solidFill>
            </a:endParaRPr>
          </a:p>
          <a:p>
            <a:pPr marL="227013" indent="-227013" algn="l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en-US" sz="1200" dirty="0" smtClean="0">
                <a:solidFill>
                  <a:srgbClr val="333333"/>
                </a:solidFill>
              </a:rPr>
              <a:t>Determine BI profile,  goals, and measures; principles; workgroup needs to plan the target state BI capabilities across the data presentation; analysis, foundation, and ingestion layers.</a:t>
            </a:r>
          </a:p>
        </p:txBody>
      </p:sp>
      <p:sp>
        <p:nvSpPr>
          <p:cNvPr id="17" name="Rectangle 16"/>
          <p:cNvSpPr/>
          <p:nvPr/>
        </p:nvSpPr>
        <p:spPr>
          <a:xfrm>
            <a:off x="2469343" y="1808820"/>
            <a:ext cx="2004966" cy="560285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5">
                  <a:lumMod val="20000"/>
                  <a:lumOff val="80000"/>
                </a:schemeClr>
              </a:gs>
            </a:gsLst>
          </a:gra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CA" sz="1200" b="1" dirty="0" smtClean="0">
                <a:solidFill>
                  <a:srgbClr val="333333"/>
                </a:solidFill>
              </a:rPr>
              <a:t>Organization Structure, People, and Process</a:t>
            </a:r>
          </a:p>
        </p:txBody>
      </p:sp>
      <p:sp>
        <p:nvSpPr>
          <p:cNvPr id="18" name="Rectangle 17"/>
          <p:cNvSpPr/>
          <p:nvPr/>
        </p:nvSpPr>
        <p:spPr>
          <a:xfrm>
            <a:off x="4670982" y="1808820"/>
            <a:ext cx="2004966" cy="560285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5">
                  <a:lumMod val="20000"/>
                  <a:lumOff val="80000"/>
                </a:schemeClr>
              </a:gs>
            </a:gsLst>
          </a:gra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CA" sz="1400" b="1" dirty="0" smtClean="0">
                <a:solidFill>
                  <a:srgbClr val="333333"/>
                </a:solidFill>
              </a:rPr>
              <a:t>Data</a:t>
            </a:r>
          </a:p>
        </p:txBody>
      </p:sp>
      <p:sp>
        <p:nvSpPr>
          <p:cNvPr id="19" name="Rectangle 18"/>
          <p:cNvSpPr/>
          <p:nvPr/>
        </p:nvSpPr>
        <p:spPr>
          <a:xfrm>
            <a:off x="6872620" y="1808820"/>
            <a:ext cx="2004966" cy="56028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  <a:effectLst>
            <a:glow rad="63500">
              <a:schemeClr val="accent2">
                <a:satMod val="175000"/>
                <a:alpha val="40000"/>
              </a:schemeClr>
            </a:glow>
            <a:outerShdw blurRad="40000" dist="20000" dir="5400000" rotWithShape="0">
              <a:srgbClr val="000000">
                <a:alpha val="38000"/>
              </a:srgbClr>
            </a:outerShdw>
          </a:effectLst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CA" sz="1400" b="1" dirty="0" smtClean="0">
                <a:solidFill>
                  <a:srgbClr val="333333"/>
                </a:solidFill>
              </a:rPr>
              <a:t>Technology</a:t>
            </a:r>
          </a:p>
        </p:txBody>
      </p:sp>
      <p:sp>
        <p:nvSpPr>
          <p:cNvPr id="20" name="Rectangle 19"/>
          <p:cNvSpPr/>
          <p:nvPr>
            <p:custDataLst>
              <p:tags r:id="rId9"/>
            </p:custDataLst>
          </p:nvPr>
        </p:nvSpPr>
        <p:spPr>
          <a:xfrm>
            <a:off x="285720" y="4653136"/>
            <a:ext cx="2004966" cy="1404156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5">
                  <a:lumMod val="20000"/>
                  <a:lumOff val="80000"/>
                </a:schemeClr>
              </a:gs>
            </a:gsLst>
            <a:lin ang="16200000" scaled="1"/>
          </a:gradFill>
          <a:ln w="1270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91440" rIns="36000" rtlCol="0" anchor="t"/>
          <a:lstStyle/>
          <a:p>
            <a:r>
              <a:rPr lang="en-US" sz="1200" b="1" i="1" dirty="0" smtClean="0">
                <a:solidFill>
                  <a:schemeClr val="accent1">
                    <a:lumMod val="75000"/>
                  </a:schemeClr>
                </a:solidFill>
                <a:hlinkClick r:id="rId16"/>
              </a:rPr>
              <a:t>Develop a BI Strategy</a:t>
            </a:r>
            <a:endParaRPr lang="en-US" sz="1200" b="1" i="1" dirty="0" smtClean="0">
              <a:solidFill>
                <a:schemeClr val="accent1">
                  <a:lumMod val="75000"/>
                </a:schemeClr>
              </a:solidFill>
            </a:endParaRPr>
          </a:p>
          <a:p>
            <a:pPr marL="177800" indent="-177800" algn="l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endParaRPr lang="en-CA" sz="1200" dirty="0" smtClean="0">
              <a:solidFill>
                <a:srgbClr val="333333"/>
              </a:solidFill>
            </a:endParaRPr>
          </a:p>
          <a:p>
            <a:pPr marL="177800" indent="-177800" algn="l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en-CA" sz="1200" dirty="0" smtClean="0">
                <a:solidFill>
                  <a:srgbClr val="333333"/>
                </a:solidFill>
              </a:rPr>
              <a:t>Develop </a:t>
            </a:r>
            <a:r>
              <a:rPr lang="en-CA" sz="1200" dirty="0">
                <a:solidFill>
                  <a:srgbClr val="333333"/>
                </a:solidFill>
              </a:rPr>
              <a:t>a strategic direction for BI that builds success on data quality, staffing, and delivery of insight</a:t>
            </a:r>
            <a:r>
              <a:rPr lang="en-CA" sz="1200" dirty="0" smtClean="0">
                <a:solidFill>
                  <a:srgbClr val="333333"/>
                </a:solidFill>
              </a:rPr>
              <a:t>.</a:t>
            </a:r>
            <a:endParaRPr lang="en-CA" sz="1200" dirty="0">
              <a:solidFill>
                <a:srgbClr val="333333"/>
              </a:solidFill>
            </a:endParaRPr>
          </a:p>
          <a:p>
            <a:r>
              <a:rPr lang="en-CA" sz="1200" dirty="0"/>
              <a:t/>
            </a:r>
            <a:br>
              <a:rPr lang="en-CA" sz="1200" dirty="0"/>
            </a:br>
            <a:endParaRPr lang="en-US" sz="1200" i="1" dirty="0" smtClean="0">
              <a:solidFill>
                <a:srgbClr val="333333"/>
              </a:solidFill>
            </a:endParaRPr>
          </a:p>
        </p:txBody>
      </p:sp>
      <p:grpSp>
        <p:nvGrpSpPr>
          <p:cNvPr id="22" name="Group 21"/>
          <p:cNvGrpSpPr/>
          <p:nvPr/>
        </p:nvGrpSpPr>
        <p:grpSpPr>
          <a:xfrm>
            <a:off x="0" y="6422955"/>
            <a:ext cx="9144000" cy="437555"/>
            <a:chOff x="0" y="6422955"/>
            <a:chExt cx="9144000" cy="437555"/>
          </a:xfrm>
        </p:grpSpPr>
        <p:pic>
          <p:nvPicPr>
            <p:cNvPr id="23" name="Picture 3">
              <a:hlinkClick r:id="rId17"/>
            </p:cNvPr>
            <p:cNvPicPr>
              <a:picLocks noChangeAspect="1" noChangeArrowheads="1"/>
            </p:cNvPicPr>
            <p:nvPr/>
          </p:nvPicPr>
          <p:blipFill>
            <a:blip r:embed="rId18" cstate="print"/>
            <a:srcRect/>
            <a:stretch>
              <a:fillRect/>
            </a:stretch>
          </p:blipFill>
          <p:spPr bwMode="auto">
            <a:xfrm>
              <a:off x="0" y="6422955"/>
              <a:ext cx="9144000" cy="4375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4" name="Picture 23" descr="itrg-logo.png"/>
            <p:cNvPicPr>
              <a:picLocks noChangeAspect="1"/>
            </p:cNvPicPr>
            <p:nvPr/>
          </p:nvPicPr>
          <p:blipFill>
            <a:blip r:embed="rId19" cstate="print"/>
            <a:stretch>
              <a:fillRect/>
            </a:stretch>
          </p:blipFill>
          <p:spPr>
            <a:xfrm>
              <a:off x="7477125" y="6453336"/>
              <a:ext cx="1400175" cy="381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779313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 smtClean="0"/>
              <a:t>Don’t begin developing a BI tool strategy unless a corporate BI strategy exists</a:t>
            </a:r>
            <a:endParaRPr lang="en-CA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68518144"/>
              </p:ext>
            </p:extLst>
          </p:nvPr>
        </p:nvGraphicFramePr>
        <p:xfrm>
          <a:off x="265905" y="1179592"/>
          <a:ext cx="8611394" cy="9144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8611394"/>
              </a:tblGrid>
              <a:tr h="0">
                <a:tc>
                  <a:txBody>
                    <a:bodyPr/>
                    <a:lstStyle/>
                    <a:p>
                      <a:r>
                        <a:rPr lang="en-US" sz="1200" b="1" i="1" dirty="0" smtClean="0">
                          <a:solidFill>
                            <a:schemeClr val="bg1"/>
                          </a:solidFill>
                        </a:rPr>
                        <a:t>Info-Tech Insight</a:t>
                      </a:r>
                      <a:r>
                        <a:rPr lang="en-US" sz="1200" b="1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endParaRPr lang="en-US" sz="12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accent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572F"/>
                    </a:solidFill>
                  </a:tcPr>
                </a:tc>
              </a:tr>
              <a:tr h="469740">
                <a:tc>
                  <a:txBody>
                    <a:bodyPr/>
                    <a:lstStyle/>
                    <a:p>
                      <a:r>
                        <a:rPr lang="en-CA" sz="12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e absence of a corporate BI strategy </a:t>
                      </a:r>
                      <a:r>
                        <a:rPr lang="en-CA" sz="1200" b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ignificantly devalues the investment in BI tools.</a:t>
                      </a:r>
                      <a:r>
                        <a:rPr lang="en-CA" sz="120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Stop now and don’t bother investing in BI tools if your organization doesn’t have a strategy for using information to make better decisions. The BI tool strategy will become shelf ware and the investment in BI tools won’t appropriately address the enterprise’s information needs.</a:t>
                      </a:r>
                      <a:endParaRPr lang="en-CA" sz="1200" dirty="0"/>
                    </a:p>
                  </a:txBody>
                  <a:tcPr>
                    <a:lnL w="6350" cap="flat" cmpd="sng" algn="ctr">
                      <a:solidFill>
                        <a:schemeClr val="accent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pic>
        <p:nvPicPr>
          <p:cNvPr id="5" name="Picture 4" descr="insight-sm.wmf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8580472" y="1224940"/>
            <a:ext cx="240000" cy="180000"/>
          </a:xfrm>
          <a:prstGeom prst="rect">
            <a:avLst/>
          </a:prstGeom>
        </p:spPr>
      </p:pic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01469537"/>
              </p:ext>
            </p:extLst>
          </p:nvPr>
        </p:nvGraphicFramePr>
        <p:xfrm>
          <a:off x="257175" y="2168860"/>
          <a:ext cx="8620124" cy="3965986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6115025"/>
                <a:gridCol w="2505099"/>
              </a:tblGrid>
              <a:tr h="3965986">
                <a:tc>
                  <a:txBody>
                    <a:bodyPr/>
                    <a:lstStyle/>
                    <a:p>
                      <a:r>
                        <a:rPr lang="en-CA" sz="120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efore proceeding, IT needs to know what information will be analyzed, for what reasons, and what methods will be used to perform the analysis.</a:t>
                      </a:r>
                      <a:endParaRPr lang="en-CA" sz="120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en-CA" sz="120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CA" sz="12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t the very least, gather</a:t>
                      </a:r>
                      <a:r>
                        <a:rPr lang="en-CA" sz="120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answers to these prerequisite questions:</a:t>
                      </a:r>
                      <a:endParaRPr lang="en-CA" sz="120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CA" sz="12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</a:p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r>
                        <a:rPr lang="en-CA" sz="12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hat are the business vision, mission, and goals?</a:t>
                      </a:r>
                    </a:p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r>
                        <a:rPr lang="en-CA" sz="12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hat are the important questions you need to answer to achieve business goals?</a:t>
                      </a:r>
                    </a:p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r>
                        <a:rPr lang="en-CA" sz="12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hat kind of information needs to be captured to answer these questions?</a:t>
                      </a:r>
                    </a:p>
                    <a:p>
                      <a:pPr marL="171450" lvl="0" indent="-171450">
                        <a:buFont typeface="Arial" panose="020B0604020202020204" pitchFamily="34" charset="0"/>
                        <a:buChar char="•"/>
                      </a:pPr>
                      <a:r>
                        <a:rPr lang="en-CA" sz="12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here does the information come from? How will it be captured?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CA" sz="12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ow will the information be analyzed</a:t>
                      </a:r>
                      <a:r>
                        <a:rPr lang="en-CA" sz="120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? E.g. regression analysis, predictive modeling, hypothesis testing, data forecasting, data segmentation.</a:t>
                      </a:r>
                      <a:endParaRPr lang="en-CA" sz="120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CA" sz="12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 what format</a:t>
                      </a:r>
                      <a:r>
                        <a:rPr lang="en-CA" sz="120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CA" sz="12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o you need to receive the results? How often?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CA" sz="1200" i="1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68288" indent="0" algn="ctr"/>
                      <a:r>
                        <a:rPr lang="en-US" sz="1400" i="1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Does the organization have an information strategy in itself, regardless of the technology they use? Do they have a strategy or principles for how they want to use or leverage information from a vision perspective. You shouldn’t approach BI until you have an information strategy. </a:t>
                      </a:r>
                      <a:endParaRPr lang="en-US" sz="1100" i="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r"/>
                      <a:endParaRPr lang="en-US" sz="1100" i="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r"/>
                      <a:r>
                        <a:rPr lang="en-US" sz="120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– Wouter van Aerle, Managing Partner at DeltlQ Group</a:t>
                      </a:r>
                      <a:endParaRPr lang="en-CA" sz="1200" i="1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CA" sz="1200" dirty="0" smtClean="0"/>
                    </a:p>
                    <a:p>
                      <a:endParaRPr lang="en-CA" sz="1200" dirty="0" smtClean="0"/>
                    </a:p>
                    <a:p>
                      <a:endParaRPr lang="en-CA" sz="1200" dirty="0" smtClean="0"/>
                    </a:p>
                    <a:p>
                      <a:endParaRPr lang="en-CA" sz="1200" dirty="0" smtClean="0"/>
                    </a:p>
                    <a:p>
                      <a:endParaRPr lang="en-CA" sz="1200" dirty="0" smtClean="0"/>
                    </a:p>
                    <a:p>
                      <a:pPr marL="2332038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i="1" dirty="0" smtClean="0">
                        <a:solidFill>
                          <a:srgbClr val="333333"/>
                        </a:solidFill>
                      </a:endParaRPr>
                    </a:p>
                  </a:txBody>
                  <a:tcPr>
                    <a:lnL w="1905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sp>
        <p:nvSpPr>
          <p:cNvPr id="10" name="Rectangle 9"/>
          <p:cNvSpPr/>
          <p:nvPr/>
        </p:nvSpPr>
        <p:spPr>
          <a:xfrm>
            <a:off x="6611510" y="2542864"/>
            <a:ext cx="2004966" cy="560285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5">
                  <a:lumMod val="20000"/>
                  <a:lumOff val="80000"/>
                </a:schemeClr>
              </a:gs>
            </a:gsLst>
          </a:gra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en-CA" sz="1200" b="1" dirty="0" smtClean="0">
                <a:solidFill>
                  <a:srgbClr val="333333"/>
                </a:solidFill>
              </a:rPr>
              <a:t>Strategy</a:t>
            </a:r>
          </a:p>
        </p:txBody>
      </p:sp>
      <p:sp>
        <p:nvSpPr>
          <p:cNvPr id="11" name="Rectangle 10"/>
          <p:cNvSpPr/>
          <p:nvPr>
            <p:custDataLst>
              <p:tags r:id="rId1"/>
            </p:custDataLst>
          </p:nvPr>
        </p:nvSpPr>
        <p:spPr>
          <a:xfrm>
            <a:off x="6611510" y="3284984"/>
            <a:ext cx="2004966" cy="1584176"/>
          </a:xfrm>
          <a:prstGeom prst="rect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5">
                  <a:lumMod val="20000"/>
                  <a:lumOff val="80000"/>
                </a:schemeClr>
              </a:gs>
            </a:gsLst>
            <a:lin ang="16200000" scaled="1"/>
          </a:gradFill>
          <a:ln w="1270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91440" rIns="36000" rtlCol="0" anchor="t"/>
          <a:lstStyle/>
          <a:p>
            <a:r>
              <a:rPr lang="en-US" sz="1200" b="1" i="1" dirty="0" smtClean="0">
                <a:solidFill>
                  <a:schemeClr val="accent1">
                    <a:lumMod val="75000"/>
                  </a:schemeClr>
                </a:solidFill>
                <a:hlinkClick r:id="rId5"/>
              </a:rPr>
              <a:t>Develop a BI Strategy</a:t>
            </a:r>
            <a:endParaRPr lang="en-US" sz="1200" b="1" i="1" dirty="0" smtClean="0">
              <a:solidFill>
                <a:schemeClr val="accent1">
                  <a:lumMod val="75000"/>
                </a:schemeClr>
              </a:solidFill>
            </a:endParaRPr>
          </a:p>
          <a:p>
            <a:endParaRPr lang="en-US" sz="1200" dirty="0" smtClean="0">
              <a:solidFill>
                <a:srgbClr val="333333"/>
              </a:solidFill>
            </a:endParaRPr>
          </a:p>
          <a:p>
            <a:pPr marL="177800" indent="-177800" algn="l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en-CA" sz="1200" dirty="0">
                <a:solidFill>
                  <a:srgbClr val="333333"/>
                </a:solidFill>
              </a:rPr>
              <a:t>Develop a strategic direction for BI that builds success on data quality, staffing, and delivery of insight.</a:t>
            </a:r>
          </a:p>
          <a:p>
            <a:r>
              <a:rPr lang="en-CA" sz="1200" dirty="0"/>
              <a:t/>
            </a:r>
            <a:br>
              <a:rPr lang="en-CA" sz="1200" dirty="0"/>
            </a:br>
            <a:endParaRPr lang="en-US" sz="1200" i="1" dirty="0" smtClean="0">
              <a:solidFill>
                <a:srgbClr val="333333"/>
              </a:solidFill>
            </a:endParaRPr>
          </a:p>
        </p:txBody>
      </p:sp>
      <p:pic>
        <p:nvPicPr>
          <p:cNvPr id="14" name="Picture 13" descr="quote2.wmf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4391980" y="5481228"/>
            <a:ext cx="201622" cy="144016"/>
          </a:xfrm>
          <a:prstGeom prst="rect">
            <a:avLst/>
          </a:prstGeom>
        </p:spPr>
      </p:pic>
      <p:pic>
        <p:nvPicPr>
          <p:cNvPr id="15" name="Picture 14" descr="quote1.wmf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755576" y="4581128"/>
            <a:ext cx="201622" cy="144016"/>
          </a:xfrm>
          <a:prstGeom prst="rect">
            <a:avLst/>
          </a:prstGeom>
        </p:spPr>
      </p:pic>
      <p:grpSp>
        <p:nvGrpSpPr>
          <p:cNvPr id="12" name="Group 11"/>
          <p:cNvGrpSpPr/>
          <p:nvPr/>
        </p:nvGrpSpPr>
        <p:grpSpPr>
          <a:xfrm>
            <a:off x="0" y="6422955"/>
            <a:ext cx="9144000" cy="437555"/>
            <a:chOff x="0" y="6422955"/>
            <a:chExt cx="9144000" cy="437555"/>
          </a:xfrm>
        </p:grpSpPr>
        <p:pic>
          <p:nvPicPr>
            <p:cNvPr id="13" name="Picture 3">
              <a:hlinkClick r:id="rId8"/>
            </p:cNvPr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0" y="6422955"/>
              <a:ext cx="9144000" cy="4375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6" name="Picture 15" descr="itrg-logo.png"/>
            <p:cNvPicPr>
              <a:picLocks noChangeAspect="1"/>
            </p:cNvPicPr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7477125" y="6453336"/>
              <a:ext cx="1400175" cy="381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490253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3131" y="260648"/>
            <a:ext cx="8625780" cy="864096"/>
          </a:xfrm>
        </p:spPr>
        <p:txBody>
          <a:bodyPr/>
          <a:lstStyle/>
          <a:p>
            <a:r>
              <a:rPr lang="en-CA" b="1" dirty="0" smtClean="0"/>
              <a:t>Activity:</a:t>
            </a:r>
            <a:r>
              <a:rPr lang="en-CA" dirty="0" smtClean="0"/>
              <a:t> Conduct </a:t>
            </a:r>
            <a:r>
              <a:rPr lang="en-CA" dirty="0"/>
              <a:t>a </a:t>
            </a:r>
            <a:r>
              <a:rPr lang="en-CA" dirty="0" smtClean="0"/>
              <a:t>BI </a:t>
            </a:r>
            <a:r>
              <a:rPr lang="en-CA" dirty="0"/>
              <a:t>issue assessment to determine which Info-Tech blueprint is right for your organization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57852893"/>
              </p:ext>
            </p:extLst>
          </p:nvPr>
        </p:nvGraphicFramePr>
        <p:xfrm>
          <a:off x="257175" y="1892808"/>
          <a:ext cx="8620124" cy="3459480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4310062"/>
                <a:gridCol w="4310062"/>
              </a:tblGrid>
              <a:tr h="33480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CA" sz="1200" b="1" i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e complex nature of BI makes it difficult to point to the root cause </a:t>
                      </a:r>
                      <a:r>
                        <a:rPr lang="en-CA" sz="12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nd </a:t>
                      </a:r>
                      <a:r>
                        <a:rPr lang="en-CA" sz="1200" b="1" i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erefore challenging in knowing where to begin addressing issues.</a:t>
                      </a:r>
                      <a:r>
                        <a:rPr lang="en-CA" sz="12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BI issues can span across the following areas:</a:t>
                      </a:r>
                    </a:p>
                    <a:p>
                      <a:pPr marL="177800" marR="0" indent="-1778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CA" sz="12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rategy</a:t>
                      </a:r>
                    </a:p>
                    <a:p>
                      <a:pPr marL="177800" marR="0" indent="-1778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CA" sz="12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rganization structure</a:t>
                      </a:r>
                    </a:p>
                    <a:p>
                      <a:pPr marL="177800" marR="0" indent="-1778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CA" sz="12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eople</a:t>
                      </a:r>
                    </a:p>
                    <a:p>
                      <a:pPr marL="177800" marR="0" indent="-1778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CA" sz="12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ocess</a:t>
                      </a:r>
                    </a:p>
                    <a:p>
                      <a:pPr marL="177800" marR="0" indent="-1778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CA" sz="12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ata</a:t>
                      </a:r>
                    </a:p>
                    <a:p>
                      <a:pPr marL="177800" marR="0" indent="-1778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CA" sz="12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echnology</a:t>
                      </a:r>
                    </a:p>
                    <a:p>
                      <a:pPr marL="177800" marR="0" indent="-1778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CA" sz="1200" b="0" i="0" kern="1200" baseline="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68288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CA" sz="1200" b="1" i="0" u="none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ep 1</a:t>
                      </a:r>
                      <a:r>
                        <a:rPr lang="en-CA" sz="1200" b="1" i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:</a:t>
                      </a:r>
                      <a:r>
                        <a:rPr lang="en-CA" sz="12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Access tab “1. Issue Questionnaire” in the </a:t>
                      </a:r>
                      <a:r>
                        <a:rPr lang="en-CA" sz="1200" b="0" i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I Assessment Tool </a:t>
                      </a:r>
                      <a:r>
                        <a:rPr lang="en-CA" sz="12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nd provide answers to the questions.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CA" sz="1200" b="0" i="0" kern="1200" baseline="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68288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CA" sz="1200" b="1" i="0" u="none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ep 2:</a:t>
                      </a:r>
                      <a:r>
                        <a:rPr lang="en-CA" sz="1200" b="0" i="0" u="none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CA" sz="12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ccess tab “2. Issue Report” in the </a:t>
                      </a:r>
                      <a:r>
                        <a:rPr lang="en-CA" sz="1200" b="0" i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I Issue Assessment Tool </a:t>
                      </a:r>
                      <a:r>
                        <a:rPr lang="en-CA" sz="12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o view the results. The tool will recommend which Info-Tech blueprint is best suited to address your BI issues.</a:t>
                      </a:r>
                      <a:endParaRPr lang="en-CA" sz="1200" i="1" kern="1200" dirty="0" smtClean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68288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CA" sz="1200" b="0" i="0" kern="1200" baseline="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90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sp>
        <p:nvSpPr>
          <p:cNvPr id="5" name="Text Placeholder 7"/>
          <p:cNvSpPr>
            <a:spLocks noGrp="1"/>
          </p:cNvSpPr>
          <p:nvPr>
            <p:ph type="body" sz="quarter" idx="4294967295"/>
          </p:nvPr>
        </p:nvSpPr>
        <p:spPr>
          <a:xfrm>
            <a:off x="257176" y="1232756"/>
            <a:ext cx="8620124" cy="657225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r>
              <a:rPr lang="en-CA" sz="1800" b="1" dirty="0" smtClean="0"/>
              <a:t>Use Info-Tech’s </a:t>
            </a:r>
            <a:r>
              <a:rPr lang="en-CA" sz="1800" b="1" i="1" dirty="0" smtClean="0"/>
              <a:t>Business Intelligence Issue Assessment Tool </a:t>
            </a:r>
            <a:r>
              <a:rPr lang="en-CA" sz="1800" b="1" dirty="0" smtClean="0"/>
              <a:t>to determine the appropriate approach in addressing BI issues.</a:t>
            </a:r>
            <a:endParaRPr lang="en-CA" sz="1800" b="1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4716016" y="1951608"/>
            <a:ext cx="3981031" cy="1614134"/>
          </a:xfrm>
          <a:prstGeom prst="rect">
            <a:avLst/>
          </a:prstGeom>
        </p:spPr>
      </p:pic>
      <p:pic>
        <p:nvPicPr>
          <p:cNvPr id="10" name="Picture 2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4860032" y="2675036"/>
            <a:ext cx="4017267" cy="1520613"/>
          </a:xfrm>
          <a:prstGeom prst="rect">
            <a:avLst/>
          </a:prstGeom>
        </p:spPr>
      </p:pic>
      <p:pic>
        <p:nvPicPr>
          <p:cNvPr id="7" name="Picture 6" descr="tool.wmf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251520" y="4041068"/>
            <a:ext cx="337784" cy="327600"/>
          </a:xfrm>
          <a:prstGeom prst="rect">
            <a:avLst/>
          </a:prstGeom>
        </p:spPr>
      </p:pic>
      <p:pic>
        <p:nvPicPr>
          <p:cNvPr id="8" name="Picture 7" descr="tool.wmf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251520" y="4591583"/>
            <a:ext cx="337784" cy="327600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4716016" y="3753035"/>
            <a:ext cx="4236542" cy="2009589"/>
          </a:xfrm>
          <a:prstGeom prst="rect">
            <a:avLst/>
          </a:prstGeom>
        </p:spPr>
      </p:pic>
      <p:grpSp>
        <p:nvGrpSpPr>
          <p:cNvPr id="11" name="Group 10"/>
          <p:cNvGrpSpPr/>
          <p:nvPr/>
        </p:nvGrpSpPr>
        <p:grpSpPr>
          <a:xfrm>
            <a:off x="0" y="6422955"/>
            <a:ext cx="9144000" cy="437555"/>
            <a:chOff x="0" y="6422955"/>
            <a:chExt cx="9144000" cy="437555"/>
          </a:xfrm>
        </p:grpSpPr>
        <p:pic>
          <p:nvPicPr>
            <p:cNvPr id="12" name="Picture 3">
              <a:hlinkClick r:id="rId7"/>
            </p:cNvPr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0" y="6422955"/>
              <a:ext cx="9144000" cy="4375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3" name="Picture 12" descr="itrg-logo.png"/>
            <p:cNvPicPr>
              <a:picLocks noChangeAspect="1"/>
            </p:cNvPicPr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7477125" y="6453336"/>
              <a:ext cx="1400175" cy="381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539003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</a:t>
            </a:r>
            <a:r>
              <a:rPr lang="en-US" dirty="0" smtClean="0"/>
              <a:t>CIO can develop </a:t>
            </a:r>
            <a:r>
              <a:rPr lang="en-US" dirty="0"/>
              <a:t>a BI tool strategy </a:t>
            </a:r>
            <a:r>
              <a:rPr lang="en-US" dirty="0" smtClean="0"/>
              <a:t>to relieve BI-related pain</a:t>
            </a:r>
            <a:endParaRPr lang="en-CA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17028160"/>
              </p:ext>
            </p:extLst>
          </p:nvPr>
        </p:nvGraphicFramePr>
        <p:xfrm>
          <a:off x="256032" y="2182936"/>
          <a:ext cx="8621268" cy="3622328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8621268"/>
              </a:tblGrid>
              <a:tr h="3622328"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spcAft>
                          <a:spcPts val="60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en-US" sz="1400" b="1" dirty="0" smtClean="0"/>
                        <a:t>BI</a:t>
                      </a:r>
                      <a:r>
                        <a:rPr lang="en-US" sz="1400" b="1" baseline="0" dirty="0" smtClean="0"/>
                        <a:t>-related </a:t>
                      </a:r>
                      <a:r>
                        <a:rPr lang="en-US" sz="1400" b="1" dirty="0" smtClean="0"/>
                        <a:t>problems exist throughout</a:t>
                      </a:r>
                      <a:r>
                        <a:rPr lang="en-US" sz="1400" b="1" baseline="0" dirty="0" smtClean="0"/>
                        <a:t> all aspects of the enterprise. </a:t>
                      </a:r>
                      <a:r>
                        <a:rPr lang="en-US" sz="1400" baseline="0" dirty="0" smtClean="0"/>
                        <a:t>Some include:</a:t>
                      </a:r>
                      <a:endParaRPr lang="en-US" sz="1400" dirty="0" smtClean="0"/>
                    </a:p>
                    <a:p>
                      <a:pPr marL="225425" marR="0" indent="-2254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lang="en-US" sz="1400" dirty="0" smtClean="0"/>
                        <a:t>Large number of inaccurate business decisions are made using BI tools.</a:t>
                      </a:r>
                    </a:p>
                    <a:p>
                      <a:pPr marL="225425" indent="-225425">
                        <a:spcBef>
                          <a:spcPts val="0"/>
                        </a:spcBef>
                        <a:spcAft>
                          <a:spcPts val="60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en-US" sz="1400" dirty="0" smtClean="0"/>
                        <a:t>Increasing inability of</a:t>
                      </a:r>
                      <a:r>
                        <a:rPr lang="en-US" sz="1400" baseline="0" dirty="0" smtClean="0"/>
                        <a:t> adapting legacy applications and systems to meet new BI needs.</a:t>
                      </a:r>
                      <a:endParaRPr lang="en-US" sz="1400" dirty="0" smtClean="0"/>
                    </a:p>
                    <a:p>
                      <a:pPr marL="225425" indent="-225425">
                        <a:spcBef>
                          <a:spcPts val="0"/>
                        </a:spcBef>
                        <a:spcAft>
                          <a:spcPts val="60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en-US" sz="1400" dirty="0" smtClean="0"/>
                        <a:t>Proliferation of BI tools,</a:t>
                      </a:r>
                      <a:r>
                        <a:rPr lang="en-US" sz="1400" baseline="0" dirty="0" smtClean="0"/>
                        <a:t> redundant BI tools, e.g. applications with overlapping capabilities and similar purposes.</a:t>
                      </a:r>
                    </a:p>
                    <a:p>
                      <a:pPr marL="225425" marR="0" indent="-2254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lang="en-US" sz="1400" dirty="0" smtClean="0"/>
                        <a:t>Large</a:t>
                      </a:r>
                      <a:r>
                        <a:rPr lang="en-US" sz="1400" baseline="0" dirty="0" smtClean="0"/>
                        <a:t> number</a:t>
                      </a:r>
                      <a:r>
                        <a:rPr lang="en-US" sz="1400" dirty="0" smtClean="0"/>
                        <a:t> of data stores;</a:t>
                      </a:r>
                      <a:r>
                        <a:rPr lang="en-US" sz="1400" baseline="0" dirty="0" smtClean="0"/>
                        <a:t> multiple “sources of truth” for the same piece of data.</a:t>
                      </a:r>
                    </a:p>
                    <a:p>
                      <a:pPr marL="225425" marR="0" indent="-2254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lang="en-US" sz="1400" dirty="0" smtClean="0"/>
                        <a:t>Disengaged, unsatisfied, and unproductive business end users.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05605308"/>
              </p:ext>
            </p:extLst>
          </p:nvPr>
        </p:nvGraphicFramePr>
        <p:xfrm>
          <a:off x="265905" y="1232756"/>
          <a:ext cx="8611394" cy="9144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8611394"/>
              </a:tblGrid>
              <a:tr h="0">
                <a:tc>
                  <a:txBody>
                    <a:bodyPr/>
                    <a:lstStyle/>
                    <a:p>
                      <a:r>
                        <a:rPr lang="en-US" sz="1200" b="1" i="1" dirty="0" smtClean="0">
                          <a:solidFill>
                            <a:schemeClr val="bg1"/>
                          </a:solidFill>
                        </a:rPr>
                        <a:t>Info-Tech Insight</a:t>
                      </a:r>
                      <a:r>
                        <a:rPr lang="en-US" sz="1200" b="1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endParaRPr lang="en-US" sz="12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accent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572F"/>
                    </a:solidFill>
                  </a:tcPr>
                </a:tc>
              </a:tr>
              <a:tr h="469740">
                <a:tc>
                  <a:txBody>
                    <a:bodyPr/>
                    <a:lstStyle/>
                    <a:p>
                      <a:r>
                        <a:rPr lang="en-US" sz="1200" b="1" dirty="0" smtClean="0"/>
                        <a:t>The CIO is responsible and accountable for providing the business with </a:t>
                      </a:r>
                      <a:r>
                        <a:rPr lang="en-US" sz="1200" b="1" i="1" u="none" dirty="0" smtClean="0"/>
                        <a:t>accurate </a:t>
                      </a:r>
                      <a:r>
                        <a:rPr lang="en-US" sz="1200" b="1" dirty="0" smtClean="0"/>
                        <a:t>information. </a:t>
                      </a:r>
                      <a:r>
                        <a:rPr lang="en-US" sz="1200" b="0" dirty="0" smtClean="0"/>
                        <a:t>All it takes is just one bad business decision to begin preparing for your not too distant job search. Involve</a:t>
                      </a:r>
                      <a:r>
                        <a:rPr lang="en-US" sz="1200" b="0" baseline="0" dirty="0" smtClean="0"/>
                        <a:t> the Head of BI in developing a BI tool strategy.</a:t>
                      </a:r>
                      <a:endParaRPr lang="en-CA" sz="1200" b="0" dirty="0"/>
                    </a:p>
                  </a:txBody>
                  <a:tcPr>
                    <a:lnL w="6350" cap="flat" cmpd="sng" algn="ctr">
                      <a:solidFill>
                        <a:schemeClr val="accent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pic>
        <p:nvPicPr>
          <p:cNvPr id="8" name="Picture 7" descr="insight-sm.wmf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8578108" y="1268760"/>
            <a:ext cx="278368" cy="208776"/>
          </a:xfrm>
          <a:prstGeom prst="rect">
            <a:avLst/>
          </a:prstGeom>
        </p:spPr>
      </p:pic>
      <p:grpSp>
        <p:nvGrpSpPr>
          <p:cNvPr id="9" name="Group 8"/>
          <p:cNvGrpSpPr/>
          <p:nvPr/>
        </p:nvGrpSpPr>
        <p:grpSpPr>
          <a:xfrm>
            <a:off x="0" y="6422955"/>
            <a:ext cx="9144000" cy="437555"/>
            <a:chOff x="0" y="6422955"/>
            <a:chExt cx="9144000" cy="437555"/>
          </a:xfrm>
        </p:grpSpPr>
        <p:pic>
          <p:nvPicPr>
            <p:cNvPr id="10" name="Picture 3">
              <a:hlinkClick r:id="rId4"/>
            </p:cNvPr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0" y="6422955"/>
              <a:ext cx="9144000" cy="4375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1" name="Picture 10" descr="itrg-logo.png"/>
            <p:cNvPicPr>
              <a:picLocks noChangeAspect="1"/>
            </p:cNvPicPr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7477125" y="6453336"/>
              <a:ext cx="1400175" cy="381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849895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257176" y="1232756"/>
            <a:ext cx="8620124" cy="657225"/>
          </a:xfrm>
        </p:spPr>
        <p:txBody>
          <a:bodyPr/>
          <a:lstStyle/>
          <a:p>
            <a:r>
              <a:rPr lang="en-US" dirty="0"/>
              <a:t>The sought benefits of an </a:t>
            </a:r>
            <a:r>
              <a:rPr lang="en-US" dirty="0" smtClean="0"/>
              <a:t>implemented BI tool strategy can </a:t>
            </a:r>
            <a:r>
              <a:rPr lang="en-US" dirty="0"/>
              <a:t>be realized after the implementation of </a:t>
            </a:r>
            <a:r>
              <a:rPr lang="en-US" dirty="0" smtClean="0"/>
              <a:t>BI tool strategy improvements</a:t>
            </a:r>
            <a:r>
              <a:rPr lang="en-US" dirty="0"/>
              <a:t>, by sustaining and operating </a:t>
            </a:r>
            <a:r>
              <a:rPr lang="en-US" dirty="0" smtClean="0"/>
              <a:t>BI tools. 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 smtClean="0"/>
              <a:t>Reap the benefits of implementing a BI tool strategy</a:t>
            </a:r>
            <a:endParaRPr lang="en-CA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20446253"/>
              </p:ext>
            </p:extLst>
          </p:nvPr>
        </p:nvGraphicFramePr>
        <p:xfrm>
          <a:off x="256033" y="2156207"/>
          <a:ext cx="8621268" cy="42976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329112"/>
                <a:gridCol w="4673377"/>
                <a:gridCol w="2618779"/>
              </a:tblGrid>
              <a:tr h="0"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spcAft>
                          <a:spcPts val="60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en-US" sz="1400" b="1" dirty="0" smtClean="0"/>
                        <a:t>Benefit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spcAft>
                          <a:spcPts val="60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en-US" sz="1400" b="1" dirty="0" smtClean="0"/>
                        <a:t>Realized</a:t>
                      </a:r>
                      <a:r>
                        <a:rPr lang="en-US" sz="1400" b="1" baseline="0" dirty="0" smtClean="0"/>
                        <a:t> through…</a:t>
                      </a:r>
                      <a:endParaRPr lang="en-US" sz="1400" b="1" dirty="0" smtClean="0"/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spcAft>
                          <a:spcPts val="60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en-US" sz="1400" b="1" dirty="0" smtClean="0"/>
                        <a:t>Applicable performance measures (aka KPIs)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spcAft>
                          <a:spcPts val="60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en-US" sz="1400" i="1" dirty="0" smtClean="0"/>
                        <a:t>Improved</a:t>
                      </a:r>
                      <a:r>
                        <a:rPr lang="en-US" sz="1400" i="1" baseline="0" dirty="0" smtClean="0"/>
                        <a:t> decision-making</a:t>
                      </a:r>
                      <a:endParaRPr lang="en-US" sz="1400" i="1" dirty="0" smtClean="0"/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4625" indent="-174625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 smtClean="0"/>
                        <a:t>Improved data</a:t>
                      </a:r>
                      <a:r>
                        <a:rPr lang="en-US" sz="1400" baseline="0" dirty="0" smtClean="0"/>
                        <a:t> accuracy due to the utilization of the following BI capabilities: data integration, data matching, data cleansing, data enhancement, and CRM connection.</a:t>
                      </a:r>
                      <a:endParaRPr lang="en-US" sz="1400" dirty="0" smtClean="0"/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4625" marR="0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it-IT" sz="14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# Decisions using BI tools</a:t>
                      </a:r>
                    </a:p>
                    <a:p>
                      <a:pPr marL="174625" marR="0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it-IT" sz="14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% Stale data</a:t>
                      </a:r>
                    </a:p>
                    <a:p>
                      <a:pPr marL="174625" marR="0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it-IT" sz="14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% Incomplete data</a:t>
                      </a:r>
                    </a:p>
                    <a:p>
                      <a:pPr marL="174625" marR="0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it-IT" sz="14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% Invalid data</a:t>
                      </a:r>
                    </a:p>
                    <a:p>
                      <a:pPr marL="174625" marR="0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it-IT" sz="14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% Duplicate data</a:t>
                      </a:r>
                    </a:p>
                    <a:p>
                      <a:pPr marL="174625" marR="0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it-IT" sz="14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% Conflicting data</a:t>
                      </a:r>
                      <a:endParaRPr lang="it-IT" sz="1400" b="0" i="0" u="none" strike="noStrike" dirty="0" smtClean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spcAft>
                          <a:spcPts val="60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en-US" sz="1400" i="1" dirty="0" smtClean="0"/>
                        <a:t>Improved</a:t>
                      </a:r>
                      <a:r>
                        <a:rPr lang="en-US" sz="1400" i="1" baseline="0" dirty="0" smtClean="0"/>
                        <a:t> worker productivity</a:t>
                      </a:r>
                      <a:endParaRPr lang="en-US" sz="1400" i="1" dirty="0" smtClean="0"/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4625" indent="-174625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 smtClean="0"/>
                        <a:t>Improved end-user adoption</a:t>
                      </a:r>
                      <a:r>
                        <a:rPr lang="en-US" sz="1400" baseline="0" dirty="0" smtClean="0"/>
                        <a:t> and satisfaction levels due to quicker access to information (self-serve BI) and a custom set of BI capabilities that best suits end-user needs.</a:t>
                      </a:r>
                      <a:endParaRPr lang="en-US" sz="1400" dirty="0" smtClean="0"/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4625" indent="-174625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 smtClean="0"/>
                        <a:t>End-user</a:t>
                      </a:r>
                      <a:r>
                        <a:rPr lang="en-US" sz="1400" baseline="0" dirty="0" smtClean="0"/>
                        <a:t> adoption rate</a:t>
                      </a:r>
                    </a:p>
                    <a:p>
                      <a:pPr marL="174625" indent="-174625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400" baseline="0" dirty="0" smtClean="0"/>
                        <a:t>End-user satisfaction level</a:t>
                      </a:r>
                      <a:endParaRPr lang="en-US" sz="1400" dirty="0" smtClean="0"/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spcAft>
                          <a:spcPts val="60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en-US" sz="1400" i="1" dirty="0" smtClean="0"/>
                        <a:t>Cost</a:t>
                      </a:r>
                      <a:r>
                        <a:rPr lang="en-US" sz="1400" i="1" baseline="0" dirty="0" smtClean="0"/>
                        <a:t> reduction</a:t>
                      </a:r>
                      <a:endParaRPr lang="en-US" sz="1400" i="1" dirty="0" smtClean="0"/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4625" indent="-174625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 smtClean="0"/>
                        <a:t>Reduction</a:t>
                      </a:r>
                      <a:r>
                        <a:rPr lang="en-US" sz="1400" baseline="0" dirty="0" smtClean="0"/>
                        <a:t> in licensing costs, maintenance and support costs, and training costs due to the retirement of redundant BI tools.</a:t>
                      </a:r>
                    </a:p>
                    <a:p>
                      <a:pPr marL="174625" indent="-174625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400" baseline="0" dirty="0" smtClean="0"/>
                        <a:t>Reduction in the time-to-information due to improved data latency and number of self-serve opportunities.</a:t>
                      </a:r>
                      <a:endParaRPr lang="en-US" sz="1400" dirty="0" smtClean="0"/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4625" indent="-174625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 smtClean="0"/>
                        <a:t>Time to information</a:t>
                      </a:r>
                    </a:p>
                    <a:p>
                      <a:pPr marL="174625" indent="-174625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 smtClean="0"/>
                        <a:t>Operational cost savings</a:t>
                      </a:r>
                    </a:p>
                    <a:p>
                      <a:pPr marL="174625" indent="-174625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 smtClean="0"/>
                        <a:t>Capital cost savings</a:t>
                      </a:r>
                    </a:p>
                    <a:p>
                      <a:pPr marL="174625" indent="-174625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 smtClean="0"/>
                        <a:t>Maintenance and support savings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0">
                <a:tc gridSpan="3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400" b="1" u="none" dirty="0" smtClean="0"/>
                        <a:t>Note</a:t>
                      </a:r>
                      <a:r>
                        <a:rPr lang="en-US" sz="1400" b="1" dirty="0" smtClean="0"/>
                        <a:t>:</a:t>
                      </a:r>
                      <a:r>
                        <a:rPr lang="en-US" sz="1400" dirty="0" smtClean="0"/>
                        <a:t> Implementing the</a:t>
                      </a:r>
                      <a:r>
                        <a:rPr lang="en-US" sz="1400" baseline="0" dirty="0" smtClean="0"/>
                        <a:t> BI tool strategy is </a:t>
                      </a:r>
                      <a:r>
                        <a:rPr lang="en-US" sz="1400" dirty="0" smtClean="0"/>
                        <a:t>out of this blueprint’s scope.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174625" indent="-174625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endParaRPr lang="en-US" sz="1400" dirty="0" smtClean="0"/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174625" indent="-174625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endParaRPr lang="en-US" sz="1400" dirty="0" smtClean="0"/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grpSp>
        <p:nvGrpSpPr>
          <p:cNvPr id="5" name="Group 4"/>
          <p:cNvGrpSpPr/>
          <p:nvPr/>
        </p:nvGrpSpPr>
        <p:grpSpPr>
          <a:xfrm>
            <a:off x="0" y="6422955"/>
            <a:ext cx="9144000" cy="437555"/>
            <a:chOff x="0" y="6422955"/>
            <a:chExt cx="9144000" cy="437555"/>
          </a:xfrm>
        </p:grpSpPr>
        <p:pic>
          <p:nvPicPr>
            <p:cNvPr id="6" name="Picture 3">
              <a:hlinkClick r:id="rId3"/>
            </p:cNvPr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0" y="6422955"/>
              <a:ext cx="9144000" cy="4375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8" name="Picture 7" descr="itrg-logo.png"/>
            <p:cNvPicPr>
              <a:picLocks noChangeAspect="1"/>
            </p:cNvPicPr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7477125" y="6453336"/>
              <a:ext cx="1400175" cy="381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788491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 smtClean="0"/>
              <a:t>Measure the benefits of this BI tool strategy project using six core performance measures (aka KPIs)</a:t>
            </a:r>
            <a:endParaRPr lang="en-CA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74140599"/>
              </p:ext>
            </p:extLst>
          </p:nvPr>
        </p:nvGraphicFramePr>
        <p:xfrm>
          <a:off x="256032" y="2060848"/>
          <a:ext cx="8639506" cy="422496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55528"/>
                <a:gridCol w="1044116"/>
                <a:gridCol w="2487862"/>
                <a:gridCol w="4752000"/>
              </a:tblGrid>
              <a:tr h="216000"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spcAft>
                          <a:spcPts val="600"/>
                        </a:spcAft>
                        <a:buFont typeface="Wingdings" panose="05000000000000000000" pitchFamily="2" charset="2"/>
                        <a:buNone/>
                      </a:pPr>
                      <a:endParaRPr lang="en-US" sz="1200" b="0" i="1" dirty="0" smtClean="0"/>
                    </a:p>
                  </a:txBody>
                  <a:tcPr vert="vert27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spcAft>
                          <a:spcPts val="60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en-US" sz="1200" b="1" dirty="0" smtClean="0"/>
                        <a:t>Measure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spcAft>
                          <a:spcPts val="60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en-US" sz="1200" b="1" dirty="0" smtClean="0"/>
                        <a:t>Description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spcAft>
                          <a:spcPts val="60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en-US" sz="1200" b="1" dirty="0" smtClean="0"/>
                        <a:t>How</a:t>
                      </a:r>
                      <a:r>
                        <a:rPr lang="en-US" sz="1200" b="1" baseline="0" dirty="0" smtClean="0"/>
                        <a:t> to capture this information?</a:t>
                      </a:r>
                      <a:endParaRPr lang="en-US" sz="1200" b="1" dirty="0" smtClean="0"/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  <a:tr h="603721">
                <a:tc rowSpan="2"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spcAft>
                          <a:spcPts val="60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en-US" sz="1200" b="0" i="1" dirty="0" smtClean="0"/>
                        <a:t>Effective</a:t>
                      </a:r>
                    </a:p>
                  </a:txBody>
                  <a:tcPr vert="vert27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CA" sz="1200" b="0" i="1" kern="1200" dirty="0" smtClean="0"/>
                        <a:t>Satisfaction level</a:t>
                      </a:r>
                      <a:endParaRPr lang="en-US" sz="1200" b="0" i="1" dirty="0" smtClean="0"/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spcAft>
                          <a:spcPts val="60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en-US" sz="1200" dirty="0" smtClean="0"/>
                        <a:t>The level</a:t>
                      </a:r>
                      <a:r>
                        <a:rPr lang="en-US" sz="1200" baseline="0" dirty="0" smtClean="0"/>
                        <a:t> of end-user satisfaction associated with BI tools.</a:t>
                      </a:r>
                      <a:endParaRPr lang="en-US" sz="1200" dirty="0" smtClean="0"/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1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CA" sz="1200" kern="1200" dirty="0" smtClean="0"/>
                        <a:t>Extract via post request/project survey data requesting feedback on the deliverables, services, and process.</a:t>
                      </a:r>
                      <a:endParaRPr lang="en-US" sz="1200" dirty="0" smtClean="0"/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603722">
                <a:tc vMerge="1">
                  <a:txBody>
                    <a:bodyPr/>
                    <a:lstStyle/>
                    <a:p>
                      <a:endParaRPr lang="en-C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CA" sz="1200" b="0" i="1" kern="1200" dirty="0" smtClean="0"/>
                        <a:t>End-user </a:t>
                      </a:r>
                      <a:r>
                        <a:rPr lang="en-CA" sz="1200" b="0" i="1" dirty="0" smtClean="0"/>
                        <a:t>a</a:t>
                      </a:r>
                      <a:r>
                        <a:rPr lang="en-CA" sz="1200" b="0" i="1" kern="1200" dirty="0" smtClean="0"/>
                        <a:t>doption rate</a:t>
                      </a:r>
                      <a:endParaRPr lang="en-US" sz="1200" b="0" i="1" dirty="0" smtClean="0"/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200" dirty="0" smtClean="0"/>
                        <a:t>The rate</a:t>
                      </a:r>
                      <a:r>
                        <a:rPr lang="en-US" sz="1200" baseline="0" dirty="0" smtClean="0"/>
                        <a:t> of end-user adoption associated with BI tools.</a:t>
                      </a:r>
                      <a:endParaRPr lang="en-US" sz="1200" dirty="0" smtClean="0"/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1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CA" sz="1200" kern="1200" dirty="0" smtClean="0"/>
                        <a:t>Extract total FTE (full-time employee) data from HR systems.</a:t>
                      </a:r>
                    </a:p>
                    <a:p>
                      <a:pPr marL="171450" marR="0" lvl="1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CA" sz="1200" kern="1200" dirty="0" smtClean="0"/>
                        <a:t>Refine BI user data from BI application to only include FTE usage and exclude test users or temporary users.</a:t>
                      </a:r>
                      <a:endParaRPr lang="en-US" sz="1200" dirty="0" smtClean="0"/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603721">
                <a:tc rowSpan="2"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spcAft>
                          <a:spcPts val="60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en-US" sz="1200" b="0" i="1" dirty="0" smtClean="0"/>
                        <a:t>Timely</a:t>
                      </a:r>
                    </a:p>
                  </a:txBody>
                  <a:tcPr vert="vert27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CA" sz="1200" b="0" i="1" kern="1200" dirty="0" smtClean="0">
                          <a:latin typeface="+mn-lt"/>
                          <a:ea typeface="+mn-ea"/>
                          <a:cs typeface="+mn-cs"/>
                        </a:rPr>
                        <a:t>Throughput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spcAft>
                          <a:spcPts val="60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en-US" sz="1200" dirty="0" smtClean="0"/>
                        <a:t>The</a:t>
                      </a:r>
                      <a:r>
                        <a:rPr lang="en-US" sz="1200" baseline="0" dirty="0" smtClean="0"/>
                        <a:t> number of BI deliverables delivered per unit of time.</a:t>
                      </a:r>
                      <a:endParaRPr lang="en-US" sz="1200" dirty="0" smtClean="0"/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CA" sz="1200" kern="1200" dirty="0" smtClean="0">
                          <a:latin typeface="+mn-lt"/>
                          <a:ea typeface="+mn-ea"/>
                          <a:cs typeface="+mn-cs"/>
                        </a:rPr>
                        <a:t>Extract from request management system and/or project management system.</a:t>
                      </a:r>
                      <a:endParaRPr lang="en-US" sz="1200" dirty="0" smtClean="0"/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603721">
                <a:tc vMerge="1">
                  <a:txBody>
                    <a:bodyPr/>
                    <a:lstStyle/>
                    <a:p>
                      <a:endParaRPr lang="en-C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CA" sz="1200" b="0" i="1" kern="1200" dirty="0" smtClean="0">
                          <a:latin typeface="+mn-lt"/>
                          <a:ea typeface="+mn-ea"/>
                          <a:cs typeface="+mn-cs"/>
                        </a:rPr>
                        <a:t>Time to information</a:t>
                      </a:r>
                      <a:endParaRPr lang="en-CA" sz="1200" b="0" i="1" dirty="0" smtClean="0"/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spcAft>
                          <a:spcPts val="60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en-US" sz="1200" dirty="0" smtClean="0"/>
                        <a:t>The average amount of time it takes to access/deliver information to a user.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1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CA" sz="1200" kern="1200" dirty="0" smtClean="0">
                          <a:latin typeface="+mn-lt"/>
                          <a:ea typeface="+mn-ea"/>
                          <a:cs typeface="+mn-cs"/>
                        </a:rPr>
                        <a:t>Extract from request management system and/or project management system. </a:t>
                      </a:r>
                    </a:p>
                    <a:p>
                      <a:pPr marL="171450" marR="0" lvl="1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CA" sz="1200" kern="1200" dirty="0" smtClean="0">
                          <a:latin typeface="+mn-lt"/>
                          <a:ea typeface="+mn-ea"/>
                          <a:cs typeface="+mn-cs"/>
                        </a:rPr>
                        <a:t>Automate extraction and integrate into data warehouse. </a:t>
                      </a:r>
                    </a:p>
                    <a:p>
                      <a:pPr marL="171450" marR="0" lvl="1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CA" sz="1200" kern="1200" dirty="0" smtClean="0">
                          <a:latin typeface="+mn-lt"/>
                          <a:ea typeface="+mn-ea"/>
                          <a:cs typeface="+mn-cs"/>
                        </a:rPr>
                        <a:t>Use manual sampling when a tracking system is</a:t>
                      </a:r>
                      <a:r>
                        <a:rPr lang="en-CA" sz="1200" kern="1200" baseline="0" dirty="0" smtClean="0">
                          <a:latin typeface="+mn-lt"/>
                          <a:ea typeface="+mn-ea"/>
                          <a:cs typeface="+mn-cs"/>
                        </a:rPr>
                        <a:t> not available</a:t>
                      </a:r>
                      <a:r>
                        <a:rPr lang="en-CA" sz="1200" kern="1200" dirty="0" smtClean="0"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endParaRPr lang="en-US" sz="1200" dirty="0" smtClean="0"/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603722">
                <a:tc rowSpan="2"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spcAft>
                          <a:spcPts val="60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en-US" sz="1200" b="0" i="1" dirty="0" smtClean="0"/>
                        <a:t>Affordable</a:t>
                      </a:r>
                    </a:p>
                  </a:txBody>
                  <a:tcPr vert="vert27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CA" sz="1200" b="0" i="1" kern="1200" dirty="0" smtClean="0">
                          <a:latin typeface="+mn-lt"/>
                          <a:ea typeface="+mn-ea"/>
                          <a:cs typeface="+mn-cs"/>
                        </a:rPr>
                        <a:t>BI unit cost measures</a:t>
                      </a:r>
                      <a:endParaRPr lang="en-US" sz="1200" b="0" i="1" dirty="0" smtClean="0"/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spcAft>
                          <a:spcPts val="60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en-US" sz="1200" dirty="0" smtClean="0"/>
                        <a:t>The per units costs associated with BI staff, deliverables,</a:t>
                      </a:r>
                      <a:r>
                        <a:rPr lang="en-US" sz="1200" baseline="0" dirty="0" smtClean="0"/>
                        <a:t> and end users.</a:t>
                      </a:r>
                      <a:endParaRPr lang="en-US" sz="1200" dirty="0" smtClean="0"/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1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CA" sz="1200" kern="1200" dirty="0" smtClean="0">
                          <a:latin typeface="+mn-lt"/>
                          <a:ea typeface="+mn-ea"/>
                          <a:cs typeface="+mn-cs"/>
                        </a:rPr>
                        <a:t>Sum fixed costs and operating costs, normalized annually. </a:t>
                      </a:r>
                    </a:p>
                    <a:p>
                      <a:pPr marL="171450" marR="0" lvl="1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CA" sz="1200" kern="1200" dirty="0" smtClean="0">
                          <a:latin typeface="+mn-lt"/>
                          <a:ea typeface="+mn-ea"/>
                          <a:cs typeface="+mn-cs"/>
                        </a:rPr>
                        <a:t>Extract the number of BI staff ($/staff),</a:t>
                      </a:r>
                      <a:r>
                        <a:rPr lang="en-CA" sz="1200" kern="1200" baseline="0" dirty="0" smtClean="0"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CA" sz="1200" kern="1200" dirty="0" smtClean="0">
                          <a:latin typeface="+mn-lt"/>
                          <a:ea typeface="+mn-ea"/>
                          <a:cs typeface="+mn-cs"/>
                        </a:rPr>
                        <a:t>BI users ($/user), and the number of deliverables</a:t>
                      </a:r>
                      <a:r>
                        <a:rPr lang="en-CA" sz="1200" kern="1200" baseline="0" dirty="0" smtClean="0">
                          <a:latin typeface="+mn-lt"/>
                          <a:ea typeface="+mn-ea"/>
                          <a:cs typeface="+mn-cs"/>
                        </a:rPr>
                        <a:t> ($/deliverable)</a:t>
                      </a:r>
                      <a:r>
                        <a:rPr lang="en-CA" sz="1200" kern="1200" dirty="0" smtClean="0">
                          <a:latin typeface="+mn-lt"/>
                          <a:ea typeface="+mn-ea"/>
                          <a:cs typeface="+mn-cs"/>
                        </a:rPr>
                        <a:t> from the BI application.</a:t>
                      </a:r>
                      <a:endParaRPr lang="en-US" sz="1200" dirty="0" smtClean="0"/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96000">
                <a:tc vMerge="1">
                  <a:txBody>
                    <a:bodyPr/>
                    <a:lstStyle/>
                    <a:p>
                      <a:endParaRPr lang="en-C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CA" sz="1200" b="0" i="1" kern="1200" dirty="0" smtClean="0">
                          <a:latin typeface="+mn-lt"/>
                          <a:ea typeface="+mn-ea"/>
                          <a:cs typeface="+mn-cs"/>
                        </a:rPr>
                        <a:t>Self-Serve Users %</a:t>
                      </a:r>
                      <a:endParaRPr lang="en-US" sz="1200" b="0" i="1" dirty="0" smtClean="0"/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spcBef>
                          <a:spcPts val="0"/>
                        </a:spcBef>
                        <a:spcAft>
                          <a:spcPts val="600"/>
                        </a:spcAft>
                        <a:buFont typeface="Wingdings" panose="05000000000000000000" pitchFamily="2" charset="2"/>
                        <a:buNone/>
                      </a:pPr>
                      <a:r>
                        <a:rPr lang="en-US" sz="1200" dirty="0" smtClean="0"/>
                        <a:t>The</a:t>
                      </a:r>
                      <a:r>
                        <a:rPr lang="en-US" sz="1200" baseline="0" dirty="0" smtClean="0"/>
                        <a:t> proportion of end users who leverage self-service capabilities.</a:t>
                      </a:r>
                      <a:endParaRPr lang="en-US" sz="1200" dirty="0" smtClean="0"/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71450" marR="0" lvl="1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CA" sz="1200" kern="1200" dirty="0" smtClean="0">
                          <a:latin typeface="+mn-lt"/>
                          <a:ea typeface="+mn-ea"/>
                          <a:cs typeface="+mn-cs"/>
                        </a:rPr>
                        <a:t>Extract from the BI application;</a:t>
                      </a:r>
                      <a:r>
                        <a:rPr lang="en-CA" sz="1200" kern="1200" baseline="0" dirty="0" smtClean="0">
                          <a:latin typeface="+mn-lt"/>
                          <a:ea typeface="+mn-ea"/>
                          <a:cs typeface="+mn-cs"/>
                        </a:rPr>
                        <a:t> p</a:t>
                      </a:r>
                      <a:r>
                        <a:rPr lang="en-CA" sz="1200" kern="1200" dirty="0" smtClean="0">
                          <a:latin typeface="+mn-lt"/>
                          <a:ea typeface="+mn-ea"/>
                          <a:cs typeface="+mn-cs"/>
                        </a:rPr>
                        <a:t>ull users that have accessed self-serve content plus users who have accessed custom dashboards/reports.</a:t>
                      </a:r>
                      <a:endParaRPr lang="en-US" sz="1200" dirty="0" smtClean="0"/>
                    </a:p>
                  </a:txBody>
                  <a:tcPr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sp>
        <p:nvSpPr>
          <p:cNvPr id="7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257176" y="1232756"/>
            <a:ext cx="8620124" cy="657225"/>
          </a:xfrm>
        </p:spPr>
        <p:txBody>
          <a:bodyPr/>
          <a:lstStyle/>
          <a:p>
            <a:r>
              <a:rPr lang="en-US" dirty="0"/>
              <a:t>Capture benchmarks for these </a:t>
            </a:r>
            <a:r>
              <a:rPr lang="en-US" dirty="0" smtClean="0"/>
              <a:t>KPIs to measure project benefits. The detailed definition of these measures will be completed later in this blueprint. </a:t>
            </a:r>
            <a:endParaRPr lang="en-CA" dirty="0"/>
          </a:p>
        </p:txBody>
      </p:sp>
      <p:grpSp>
        <p:nvGrpSpPr>
          <p:cNvPr id="6" name="Group 5"/>
          <p:cNvGrpSpPr/>
          <p:nvPr/>
        </p:nvGrpSpPr>
        <p:grpSpPr>
          <a:xfrm>
            <a:off x="0" y="6422955"/>
            <a:ext cx="9144000" cy="437555"/>
            <a:chOff x="0" y="6422955"/>
            <a:chExt cx="9144000" cy="437555"/>
          </a:xfrm>
        </p:grpSpPr>
        <p:pic>
          <p:nvPicPr>
            <p:cNvPr id="8" name="Picture 3">
              <a:hlinkClick r:id="rId3"/>
            </p:cNvPr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0" y="6422955"/>
              <a:ext cx="9144000" cy="4375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9" name="Picture 8" descr="itrg-logo.png"/>
            <p:cNvPicPr>
              <a:picLocks noChangeAspect="1"/>
            </p:cNvPicPr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7477125" y="6453336"/>
              <a:ext cx="1400175" cy="381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379991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_PRESENTER" val="d8b6fbc6f63f9a48afb0b3986393ed74e4ffbf26"/>
  <p:tag name="ISPRING_RESOURCE_PATHS_HASH_2" val="f37b60cbaafbb8102cb6bf9570955cc56b30bee8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M8jg2Yh0OCU.MAXIu8g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M7ab6Z7LUa.7I74IiyDf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y.JadP_kqE4TrvMsAVz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M8jg2Yh0OCU.MAXIu8g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M8jg2Yh0OCU.MAXIu8g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M8jg2Yh0OCU.MAXIu8g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M8jg2Yh0OCU.MAXIu8g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M8jg2Yh0OCU.MAXIu8gg"/>
</p:tagLst>
</file>

<file path=ppt/theme/theme1.xml><?xml version="1.0" encoding="utf-8"?>
<a:theme xmlns:a="http://schemas.openxmlformats.org/drawingml/2006/main" name="Office Theme">
  <a:themeElements>
    <a:clrScheme name="Research 2011">
      <a:dk1>
        <a:srgbClr val="333333"/>
      </a:dk1>
      <a:lt1>
        <a:srgbClr val="FFFFFF"/>
      </a:lt1>
      <a:dk2>
        <a:srgbClr val="FFFFFF"/>
      </a:dk2>
      <a:lt2>
        <a:srgbClr val="FFFFFF"/>
      </a:lt2>
      <a:accent1>
        <a:srgbClr val="243F54"/>
      </a:accent1>
      <a:accent2>
        <a:srgbClr val="998F57"/>
      </a:accent2>
      <a:accent3>
        <a:srgbClr val="CECECE"/>
      </a:accent3>
      <a:accent4>
        <a:srgbClr val="7B7B7B"/>
      </a:accent4>
      <a:accent5>
        <a:srgbClr val="ADB7C3"/>
      </a:accent5>
      <a:accent6>
        <a:srgbClr val="5D5936"/>
      </a:accent6>
      <a:hlink>
        <a:srgbClr val="2576B7"/>
      </a:hlink>
      <a:folHlink>
        <a:srgbClr val="C77709"/>
      </a:folHlink>
    </a:clrScheme>
    <a:fontScheme name="Research 2011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40000"/>
                <a:satMod val="155000"/>
              </a:schemeClr>
            </a:gs>
            <a:gs pos="65000">
              <a:schemeClr val="phClr">
                <a:shade val="85000"/>
                <a:satMod val="155000"/>
              </a:schemeClr>
            </a:gs>
            <a:gs pos="100000">
              <a:schemeClr val="phClr">
                <a:shade val="95000"/>
                <a:satMod val="155000"/>
              </a:schemeClr>
            </a:gs>
          </a:gsLst>
          <a:lin ang="16200000" scaled="0"/>
        </a:gradFill>
      </a:fillStyleLst>
      <a:lnStyleLst>
        <a:ln w="6350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4925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algn="tl" rotWithShape="0">
              <a:srgbClr val="000000">
                <a:alpha val="64000"/>
              </a:srgbClr>
            </a:outerShdw>
          </a:effectLst>
        </a:effectStyle>
        <a:effectStyle>
          <a:effectLst>
            <a:outerShdw blurRad="39000" dist="254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39000" dist="25400" dir="5400000">
              <a:srgbClr val="000000">
                <a:alpha val="35000"/>
              </a:srgbClr>
            </a:outerShdw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 prstMaterial="matte">
            <a:bevelT h="22225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50000"/>
                <a:satMod val="155000"/>
              </a:schemeClr>
            </a:gs>
            <a:gs pos="35000">
              <a:schemeClr val="phClr">
                <a:shade val="75000"/>
                <a:satMod val="155000"/>
              </a:schemeClr>
            </a:gs>
            <a:gs pos="100000">
              <a:schemeClr val="phClr">
                <a:tint val="80000"/>
                <a:satMod val="255000"/>
              </a:schemeClr>
            </a:gs>
          </a:gsLst>
          <a:lin ang="16200000" scaled="0"/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082</Words>
  <Application>Microsoft Office PowerPoint</Application>
  <PresentationFormat>On-screen Show (4:3)</PresentationFormat>
  <Paragraphs>252</Paragraphs>
  <Slides>12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9" baseType="lpstr">
      <vt:lpstr>Arial</vt:lpstr>
      <vt:lpstr>Calibri</vt:lpstr>
      <vt:lpstr>Georgia</vt:lpstr>
      <vt:lpstr>Helvetica</vt:lpstr>
      <vt:lpstr>Wingdings</vt:lpstr>
      <vt:lpstr>Office Theme</vt:lpstr>
      <vt:lpstr>think-cell Slide</vt:lpstr>
      <vt:lpstr>PowerPoint Presentation</vt:lpstr>
      <vt:lpstr>Introduction</vt:lpstr>
      <vt:lpstr>Executive Summary</vt:lpstr>
      <vt:lpstr>This blueprint is part of Info-Tech’s business intelligence research roadmap</vt:lpstr>
      <vt:lpstr>Don’t begin developing a BI tool strategy unless a corporate BI strategy exists</vt:lpstr>
      <vt:lpstr>Activity: Conduct a BI issue assessment to determine which Info-Tech blueprint is right for your organization</vt:lpstr>
      <vt:lpstr>The CIO can develop a BI tool strategy to relieve BI-related pain</vt:lpstr>
      <vt:lpstr>Reap the benefits of implementing a BI tool strategy</vt:lpstr>
      <vt:lpstr>Measure the benefits of this BI tool strategy project using six core performance measures (aka KPIs)</vt:lpstr>
      <vt:lpstr>Improve BI 1.0 capabilities and plan for BI 2.0 capabilities to meet new demand</vt:lpstr>
      <vt:lpstr>Fulfill the demand for advanced BI capabilities by following Info-Tech’s unique approach</vt:lpstr>
      <vt:lpstr>Info-Tech Research Group Helps IT Professionals To: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4-05-23T12:40:51Z</dcterms:created>
  <dcterms:modified xsi:type="dcterms:W3CDTF">2014-05-23T12:42:54Z</dcterms:modified>
</cp:coreProperties>
</file>